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48" r:id="rId1"/>
  </p:sldMasterIdLst>
  <p:notesMasterIdLst>
    <p:notesMasterId r:id="rId13"/>
  </p:notesMasterIdLst>
  <p:handoutMasterIdLst>
    <p:handoutMasterId r:id="rId14"/>
  </p:handoutMasterIdLst>
  <p:sldIdLst>
    <p:sldId id="352" r:id="rId2"/>
    <p:sldId id="353" r:id="rId3"/>
    <p:sldId id="354" r:id="rId4"/>
    <p:sldId id="341" r:id="rId5"/>
    <p:sldId id="342" r:id="rId6"/>
    <p:sldId id="343" r:id="rId7"/>
    <p:sldId id="345" r:id="rId8"/>
    <p:sldId id="346" r:id="rId9"/>
    <p:sldId id="349" r:id="rId10"/>
    <p:sldId id="348" r:id="rId11"/>
    <p:sldId id="344" r:id="rId12"/>
  </p:sldIdLst>
  <p:sldSz cx="18288000" cy="10287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241">
          <p15:clr>
            <a:srgbClr val="A4A3A4"/>
          </p15:clr>
        </p15:guide>
        <p15:guide id="4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mputer" initials="C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1E"/>
    <a:srgbClr val="D5A017"/>
    <a:srgbClr val="6B7CA5"/>
    <a:srgbClr val="F4811E"/>
    <a:srgbClr val="F36077"/>
    <a:srgbClr val="614A7B"/>
    <a:srgbClr val="9ABB5A"/>
    <a:srgbClr val="622523"/>
    <a:srgbClr val="4AACC6"/>
    <a:srgbClr val="E985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86163" autoAdjust="0"/>
  </p:normalViewPr>
  <p:slideViewPr>
    <p:cSldViewPr snapToGrid="0" snapToObjects="1">
      <p:cViewPr varScale="1">
        <p:scale>
          <a:sx n="66" d="100"/>
          <a:sy n="66" d="100"/>
        </p:scale>
        <p:origin x="882" y="72"/>
      </p:cViewPr>
      <p:guideLst>
        <p:guide orient="horz" pos="1620"/>
        <p:guide pos="2880"/>
        <p:guide orient="horz" pos="3241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3" d="100"/>
          <a:sy n="123" d="100"/>
        </p:scale>
        <p:origin x="-2172" y="-108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5668DB0-C220-184B-97FA-632477F151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94DF4B-CABE-B84A-A254-26BA8918DD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A62A17D-E2B4-1F42-AC67-26D161EBFAA0}" type="datetimeFigureOut">
              <a:rPr lang="en-US"/>
              <a:pPr>
                <a:defRPr/>
              </a:pPr>
              <a:t>12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56C11F-FC83-094C-AEC5-A49BCB34D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BC965-0B70-3144-81F2-77776D2365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7C23531-77F2-6E43-9610-A0DD7817F282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A09EAB-6DC3-3641-9B8B-8C588E90F3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FE049E-2A5B-F745-B8A3-14886A24A3B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4AFB640-4C72-3E4A-AC20-C9A4F6631798}" type="datetimeFigureOut">
              <a:rPr lang="en-US"/>
              <a:pPr>
                <a:defRPr/>
              </a:pPr>
              <a:t>12/3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0A1A48F-8D12-FC4F-90B8-F0863E9326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DE475B-A4AD-1143-90E5-7D158E1D62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06AC9-3F84-EF46-885F-C3BCD38AF22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47D09E-765A-4848-BEF7-7D2388EC2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A428807-8200-5D48-BB1B-DCEAC1543D97}" type="slidenum">
              <a:rPr lang="en-US" altLang="en-VN"/>
              <a:pPr/>
              <a:t>‹#›</a:t>
            </a:fld>
            <a:endParaRPr lang="en-US" altLang="en-V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0908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092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271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455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vi-VN" altLang="en-US"/>
              <a:t>Có hai loại văn bản xuất hiện trong video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/>
              <a:t>- Văn bản tự nhiên (Natural/scene text) là văn bản xảy ra trong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/>
              <a:t>video khi nó đang được quay. Những văn bản này là một phần của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/>
              <a:t>cảnh quay video. Ví dụ: Số nhà, Xe hơi, biển số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/>
              <a:t>- Văn bản </a:t>
            </a:r>
            <a:r>
              <a:rPr lang="en-US" altLang="en-US"/>
              <a:t>chèn</a:t>
            </a:r>
            <a:r>
              <a:rPr lang="en-US" altLang="en-US" baseline="0"/>
              <a:t> lên</a:t>
            </a:r>
            <a:r>
              <a:rPr lang="vi-VN" altLang="en-US"/>
              <a:t>: là văn bản</a:t>
            </a:r>
            <a:r>
              <a:rPr lang="en-US" altLang="en-US" baseline="0"/>
              <a:t> </a:t>
            </a:r>
            <a:r>
              <a:rPr lang="vi-VN" altLang="en-US"/>
              <a:t>được ghi lại nhưng được xếp chồng lên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/>
              <a:t>cung cấp thêm thông tin về cảnh cụ thể đó. Thí dụ:</a:t>
            </a:r>
            <a:r>
              <a:rPr lang="en-US" altLang="en-US" baseline="0"/>
              <a:t> Nhân vật, đạo diễn ….</a:t>
            </a:r>
            <a:endParaRPr lang="vi-VN" altLang="en-US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6468770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9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7629284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428807-8200-5D48-BB1B-DCEAC1543D97}" type="slidenum">
              <a:rPr lang="en-US" altLang="en-VN" smtClean="0"/>
              <a:pPr/>
              <a:t>10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777878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/>
              <a:t>CRAFT (</a:t>
            </a:r>
            <a:r>
              <a:rPr lang="en-US"/>
              <a:t>Character Region Awareness for Text Detection)</a:t>
            </a:r>
            <a:endParaRPr lang="en-US" altLang="en-US"/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DEEP-TEXT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VIDEO là</a:t>
            </a:r>
            <a:r>
              <a:rPr lang="en-US" altLang="en-US" baseline="0"/>
              <a:t> một dạng ảnh động, tập hợp của rất nhiều ảnh tỉnh nối tiếp nhau</a:t>
            </a:r>
            <a:endParaRPr lang="vi-VN" altLang="en-US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1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750574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/>
              <a:t>CRAFT (</a:t>
            </a:r>
            <a:r>
              <a:rPr lang="en-US"/>
              <a:t>Character Region Awareness for Text Detection)</a:t>
            </a:r>
            <a:endParaRPr lang="en-US" altLang="en-US"/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DEEP-TEXT</a:t>
            </a:r>
            <a:endParaRPr lang="vi-VN" altLang="en-US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2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3496572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46702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459959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5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338614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3467288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147864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42464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CC97A-41E6-4A7A-A8FF-9176BF1BD7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636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F07EB0-56A8-B841-B347-E80DAF59A2E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3586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0321A4-2665-D147-A7A4-A25A4C4FEA2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410812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CD873FFE-637E-2E43-AE34-FC246F7B9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5" y="31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CD873FFE-637E-2E43-AE34-FC246F7B99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31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DEB81F-D135-6F4C-85FE-FC067FDE0F41}"/>
              </a:ext>
            </a:extLst>
          </p:cNvPr>
          <p:cNvSpPr/>
          <p:nvPr userDrawn="1"/>
        </p:nvSpPr>
        <p:spPr>
          <a:xfrm>
            <a:off x="0" y="10186988"/>
            <a:ext cx="18288000" cy="10001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20662-5631-D142-B95A-6C4D601FC31E}"/>
              </a:ext>
            </a:extLst>
          </p:cNvPr>
          <p:cNvSpPr/>
          <p:nvPr userDrawn="1"/>
        </p:nvSpPr>
        <p:spPr>
          <a:xfrm>
            <a:off x="17197388" y="9577388"/>
            <a:ext cx="587375" cy="709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E3F979-C333-EA4F-A2BE-FFB3635733A1}"/>
              </a:ext>
            </a:extLst>
          </p:cNvPr>
          <p:cNvSpPr/>
          <p:nvPr userDrawn="1"/>
        </p:nvSpPr>
        <p:spPr>
          <a:xfrm>
            <a:off x="503238" y="479425"/>
            <a:ext cx="1189037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451D46-D08D-924E-981E-5FAAA6CC4B45}"/>
              </a:ext>
            </a:extLst>
          </p:cNvPr>
          <p:cNvSpPr/>
          <p:nvPr userDrawn="1"/>
        </p:nvSpPr>
        <p:spPr>
          <a:xfrm>
            <a:off x="1692275" y="479425"/>
            <a:ext cx="323850" cy="12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CD9053-6E4C-8C46-BD0A-6C0082D68B17}"/>
              </a:ext>
            </a:extLst>
          </p:cNvPr>
          <p:cNvSpPr/>
          <p:nvPr userDrawn="1"/>
        </p:nvSpPr>
        <p:spPr>
          <a:xfrm>
            <a:off x="2341563" y="479425"/>
            <a:ext cx="323850" cy="12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4A7E54-747C-5C44-959B-6137A4B57040}"/>
              </a:ext>
            </a:extLst>
          </p:cNvPr>
          <p:cNvSpPr/>
          <p:nvPr userDrawn="1"/>
        </p:nvSpPr>
        <p:spPr>
          <a:xfrm>
            <a:off x="2016125" y="479425"/>
            <a:ext cx="325438" cy="127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511" y="765579"/>
            <a:ext cx="17282980" cy="830868"/>
          </a:xfrm>
        </p:spPr>
        <p:txBody>
          <a:bodyPr lIns="0" tIns="0" rIns="0" bIns="0" anchor="t">
            <a:spAutoFit/>
          </a:bodyPr>
          <a:lstStyle>
            <a:lvl1pPr>
              <a:defRPr sz="53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511" y="2424170"/>
            <a:ext cx="17282980" cy="6841276"/>
          </a:xfrm>
        </p:spPr>
        <p:txBody>
          <a:bodyPr>
            <a:normAutofit/>
          </a:bodyPr>
          <a:lstStyle>
            <a:lvl1pPr>
              <a:defRPr sz="2100">
                <a:latin typeface="+mn-lt"/>
              </a:defRPr>
            </a:lvl1pPr>
            <a:lvl2pPr>
              <a:defRPr sz="2100">
                <a:latin typeface="+mn-lt"/>
              </a:defRPr>
            </a:lvl2pPr>
            <a:lvl3pPr>
              <a:defRPr sz="2100">
                <a:latin typeface="+mn-lt"/>
              </a:defRPr>
            </a:lvl3pPr>
            <a:lvl4pPr>
              <a:defRPr sz="2100">
                <a:latin typeface="+mn-lt"/>
              </a:defRPr>
            </a:lvl4pPr>
            <a:lvl5pPr>
              <a:defRPr sz="21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2511" y="1502556"/>
            <a:ext cx="17282980" cy="476140"/>
          </a:xfrm>
        </p:spPr>
        <p:txBody>
          <a:bodyPr lIns="0" tIns="0" rIns="0" bIns="0">
            <a:noAutofit/>
          </a:bodyPr>
          <a:lstStyle>
            <a:lvl1pPr marL="0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99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685594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1371189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2056783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2742377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4C02B0A-3F15-0644-85C1-DD8E13DB266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03238" y="9678988"/>
            <a:ext cx="41148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fld id="{5D3A4839-066D-634B-A069-918B41A4B1CA}" type="datetime1">
              <a:rPr lang="en-US"/>
              <a:pPr>
                <a:defRPr/>
              </a:pPr>
              <a:t>12/3/2023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538E284-7584-1C41-948C-8E012D9495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57900" y="9678988"/>
            <a:ext cx="61722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DF0677-D836-794F-A3D3-8945447434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197388" y="9678988"/>
            <a:ext cx="587375" cy="547687"/>
          </a:xfrm>
        </p:spPr>
        <p:txBody>
          <a:bodyPr/>
          <a:lstStyle>
            <a:lvl1pPr algn="ctr">
              <a:defRPr sz="1500">
                <a:solidFill>
                  <a:srgbClr val="8064A2"/>
                </a:solidFill>
              </a:defRPr>
            </a:lvl1pPr>
          </a:lstStyle>
          <a:p>
            <a:fld id="{A1330A50-1257-DE47-9FBF-4A440C5A115B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677574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91306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92091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FCBA02C-0BCE-B747-B21A-AA74571762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259300" y="466725"/>
            <a:ext cx="514350" cy="547688"/>
          </a:xfr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fld id="{B8E0565A-11E2-4F42-B072-ED56BF13E034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444492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BFFA5D4-CE82-684E-A9E3-345D31D06D77}"/>
              </a:ext>
            </a:extLst>
          </p:cNvPr>
          <p:cNvSpPr/>
          <p:nvPr userDrawn="1"/>
        </p:nvSpPr>
        <p:spPr>
          <a:xfrm>
            <a:off x="17433925" y="9566275"/>
            <a:ext cx="482600" cy="484188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2" descr="H:\THUHA\SLIDE\SLIDE-VNPT-MEDIA-NTS\DESIGN\LOGO\thanhvien-01.png">
            <a:extLst>
              <a:ext uri="{FF2B5EF4-FFF2-40B4-BE49-F238E27FC236}">
                <a16:creationId xmlns:a16="http://schemas.microsoft.com/office/drawing/2014/main" id="{B14AF6BA-5D54-1645-A7B2-648F5D9B17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0113" y="9686925"/>
            <a:ext cx="237013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5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15C3-B007-FC41-B70D-ED675F55360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4002262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CA0C1D-4098-6D46-A95F-EE2F0349225E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73679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840AB-413A-9E41-883A-4EF5613020A8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033612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AE632-74AD-EE42-A76B-3DB8C8CE677C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85723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A091F-5148-7749-8CC6-5490B088D3A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097746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6D39D-1213-2C4C-8E4E-D1E2108299C0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76734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1736A-7AC9-FB49-A9AF-B8AEB76DFB22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749042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39765-D900-3E43-9EBB-7FEE8D739B24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66308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44" r:id="rId12"/>
    <p:sldLayoutId id="2147483745" r:id="rId13"/>
    <p:sldLayoutId id="2147483746" r:id="rId14"/>
    <p:sldLayoutId id="2147483747" r:id="rId15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5147" y="2454722"/>
            <a:ext cx="7587544" cy="426799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514" y="2454722"/>
            <a:ext cx="7388229" cy="555964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3" name="Rectangle 2"/>
          <p:cNvSpPr/>
          <p:nvPr/>
        </p:nvSpPr>
        <p:spPr>
          <a:xfrm>
            <a:off x="1294140" y="1040266"/>
            <a:ext cx="61782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vi-VN" altLang="en-US" sz="2400" b="1">
                <a:latin typeface="Roboto"/>
              </a:rPr>
              <a:t>Có hai loại văn bản xuất hiện trong video</a:t>
            </a:r>
          </a:p>
        </p:txBody>
      </p:sp>
    </p:spTree>
    <p:extLst>
      <p:ext uri="{BB962C8B-B14F-4D97-AF65-F5344CB8AC3E}">
        <p14:creationId xmlns:p14="http://schemas.microsoft.com/office/powerpoint/2010/main" val="207753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ả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yể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ao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Google Shape;638;p33"/>
          <p:cNvCxnSpPr/>
          <p:nvPr/>
        </p:nvCxnSpPr>
        <p:spPr>
          <a:xfrm>
            <a:off x="1862900" y="1373850"/>
            <a:ext cx="8608200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Google Shape;640;p33"/>
          <p:cNvSpPr/>
          <p:nvPr/>
        </p:nvSpPr>
        <p:spPr>
          <a:xfrm>
            <a:off x="6619342" y="7331631"/>
            <a:ext cx="3373316" cy="3260554"/>
          </a:xfrm>
          <a:custGeom>
            <a:avLst/>
            <a:gdLst/>
            <a:ahLst/>
            <a:cxnLst/>
            <a:rect l="l" t="t" r="r" b="b"/>
            <a:pathLst>
              <a:path w="4497754" h="4347405" extrusionOk="0">
                <a:moveTo>
                  <a:pt x="1901162" y="0"/>
                </a:moveTo>
                <a:lnTo>
                  <a:pt x="4497754" y="211"/>
                </a:lnTo>
                <a:lnTo>
                  <a:pt x="2600038" y="4347405"/>
                </a:lnTo>
                <a:lnTo>
                  <a:pt x="0" y="434740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8100000" algn="tr" rotWithShape="0">
              <a:srgbClr val="262626">
                <a:alpha val="69800"/>
              </a:srgbClr>
            </a:outerShdw>
          </a:effectLst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641;p33"/>
          <p:cNvSpPr/>
          <p:nvPr/>
        </p:nvSpPr>
        <p:spPr>
          <a:xfrm>
            <a:off x="4658090" y="5996546"/>
            <a:ext cx="3963292" cy="4595792"/>
          </a:xfrm>
          <a:custGeom>
            <a:avLst/>
            <a:gdLst/>
            <a:ahLst/>
            <a:cxnLst/>
            <a:rect l="l" t="t" r="r" b="b"/>
            <a:pathLst>
              <a:path w="5284390" h="6127722" extrusionOk="0">
                <a:moveTo>
                  <a:pt x="5284390" y="0"/>
                </a:moveTo>
                <a:lnTo>
                  <a:pt x="2609406" y="6127722"/>
                </a:lnTo>
                <a:lnTo>
                  <a:pt x="0" y="6127722"/>
                </a:lnTo>
                <a:lnTo>
                  <a:pt x="2725898" y="740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0800" dist="38100" dir="8100000" algn="tr" rotWithShape="0">
              <a:srgbClr val="262626">
                <a:alpha val="69800"/>
              </a:srgbClr>
            </a:outerShdw>
          </a:effectLst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642;p33"/>
          <p:cNvSpPr/>
          <p:nvPr/>
        </p:nvSpPr>
        <p:spPr>
          <a:xfrm>
            <a:off x="2791988" y="4666845"/>
            <a:ext cx="4486372" cy="5925646"/>
          </a:xfrm>
          <a:custGeom>
            <a:avLst/>
            <a:gdLst/>
            <a:ahLst/>
            <a:cxnLst/>
            <a:rect l="l" t="t" r="r" b="b"/>
            <a:pathLst>
              <a:path w="5981830" h="7900862" extrusionOk="0">
                <a:moveTo>
                  <a:pt x="5981830" y="0"/>
                </a:moveTo>
                <a:lnTo>
                  <a:pt x="2468709" y="7900862"/>
                </a:lnTo>
                <a:lnTo>
                  <a:pt x="0" y="7900862"/>
                </a:lnTo>
                <a:lnTo>
                  <a:pt x="3423339" y="7409"/>
                </a:lnTo>
                <a:close/>
              </a:path>
            </a:pathLst>
          </a:custGeom>
          <a:solidFill>
            <a:srgbClr val="E06666"/>
          </a:solidFill>
          <a:ln>
            <a:noFill/>
          </a:ln>
          <a:effectLst>
            <a:outerShdw blurRad="50800" dist="38100" dir="8100000" algn="tr" rotWithShape="0">
              <a:srgbClr val="262626">
                <a:alpha val="69800"/>
              </a:srgbClr>
            </a:outerShdw>
          </a:effectLst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643;p33"/>
          <p:cNvSpPr/>
          <p:nvPr/>
        </p:nvSpPr>
        <p:spPr>
          <a:xfrm>
            <a:off x="828859" y="3368092"/>
            <a:ext cx="5099182" cy="7224548"/>
          </a:xfrm>
          <a:custGeom>
            <a:avLst/>
            <a:gdLst/>
            <a:ahLst/>
            <a:cxnLst/>
            <a:rect l="l" t="t" r="r" b="b"/>
            <a:pathLst>
              <a:path w="6798908" h="9632730" extrusionOk="0">
                <a:moveTo>
                  <a:pt x="6798908" y="0"/>
                </a:moveTo>
                <a:lnTo>
                  <a:pt x="2622508" y="9632730"/>
                </a:lnTo>
                <a:lnTo>
                  <a:pt x="0" y="9632730"/>
                </a:lnTo>
                <a:lnTo>
                  <a:pt x="673670" y="8072314"/>
                </a:lnTo>
                <a:lnTo>
                  <a:pt x="4240416" y="7409"/>
                </a:lnTo>
                <a:close/>
              </a:path>
            </a:pathLst>
          </a:custGeom>
          <a:solidFill>
            <a:srgbClr val="6AA84F"/>
          </a:solidFill>
          <a:ln>
            <a:noFill/>
          </a:ln>
          <a:effectLst>
            <a:outerShdw blurRad="50800" dist="38100" dir="8100000" algn="tr" rotWithShape="0">
              <a:srgbClr val="262626">
                <a:alpha val="69800"/>
              </a:srgbClr>
            </a:outerShdw>
          </a:effectLst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644;p33"/>
          <p:cNvSpPr/>
          <p:nvPr/>
        </p:nvSpPr>
        <p:spPr>
          <a:xfrm>
            <a:off x="-29043" y="2073319"/>
            <a:ext cx="4593930" cy="8519470"/>
          </a:xfrm>
          <a:custGeom>
            <a:avLst/>
            <a:gdLst/>
            <a:ahLst/>
            <a:cxnLst/>
            <a:rect l="l" t="t" r="r" b="b"/>
            <a:pathLst>
              <a:path w="6125240" h="11359294" extrusionOk="0">
                <a:moveTo>
                  <a:pt x="6125240" y="0"/>
                </a:moveTo>
                <a:lnTo>
                  <a:pt x="1141419" y="11359294"/>
                </a:lnTo>
                <a:lnTo>
                  <a:pt x="8104" y="11359294"/>
                </a:lnTo>
                <a:cubicBezTo>
                  <a:pt x="5403" y="10263634"/>
                  <a:pt x="2701" y="9167975"/>
                  <a:pt x="0" y="8072315"/>
                </a:cubicBezTo>
                <a:lnTo>
                  <a:pt x="3566747" y="74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srgbClr val="262626">
                <a:alpha val="69800"/>
              </a:srgbClr>
            </a:outerShdw>
          </a:effectLst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" name="Google Shape;645;p33"/>
          <p:cNvSpPr txBox="1"/>
          <p:nvPr/>
        </p:nvSpPr>
        <p:spPr>
          <a:xfrm>
            <a:off x="2472938" y="2304094"/>
            <a:ext cx="1560000" cy="1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6000" b="1" cap="small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rPr>
              <a:t>01</a:t>
            </a:r>
            <a:endParaRPr sz="6000" b="1" cap="small">
              <a:solidFill>
                <a:schemeClr val="l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4" name="Google Shape;646;p33"/>
          <p:cNvSpPr txBox="1"/>
          <p:nvPr/>
        </p:nvSpPr>
        <p:spPr>
          <a:xfrm>
            <a:off x="3709278" y="3689090"/>
            <a:ext cx="1560000" cy="1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6000" b="1" cap="small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rPr>
              <a:t>02</a:t>
            </a:r>
            <a:endParaRPr sz="6000" b="1" cap="small">
              <a:solidFill>
                <a:schemeClr val="l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5" name="Google Shape;647;p33"/>
          <p:cNvSpPr txBox="1"/>
          <p:nvPr/>
        </p:nvSpPr>
        <p:spPr>
          <a:xfrm>
            <a:off x="5147750" y="4946904"/>
            <a:ext cx="1560000" cy="1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6000" b="1" cap="small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rPr>
              <a:t>03</a:t>
            </a:r>
            <a:endParaRPr sz="6000" b="1" cap="small">
              <a:solidFill>
                <a:schemeClr val="l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6" name="Google Shape;648;p33"/>
          <p:cNvSpPr txBox="1"/>
          <p:nvPr/>
        </p:nvSpPr>
        <p:spPr>
          <a:xfrm>
            <a:off x="6532128" y="6160540"/>
            <a:ext cx="1560000" cy="1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6000" b="1" cap="small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rPr>
              <a:t>04</a:t>
            </a:r>
            <a:endParaRPr sz="6000" b="1" cap="small">
              <a:solidFill>
                <a:schemeClr val="l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7" name="Google Shape;649;p33"/>
          <p:cNvSpPr/>
          <p:nvPr/>
        </p:nvSpPr>
        <p:spPr>
          <a:xfrm>
            <a:off x="4412250" y="2486650"/>
            <a:ext cx="8411400" cy="10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</a:pPr>
            <a:r>
              <a:rPr lang="vi" dirty="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rPr>
              <a:t>Chuyển giao toàn bộ phần mềm, source </a:t>
            </a:r>
            <a:r>
              <a:rPr lang="en-US" dirty="0">
                <a:solidFill>
                  <a:schemeClr val="accent1"/>
                </a:solidFill>
                <a:latin typeface="Oswald"/>
                <a:ea typeface="Oswald"/>
                <a:cs typeface="Oswald"/>
                <a:sym typeface="Oswald"/>
              </a:rPr>
              <a:t>code</a:t>
            </a:r>
            <a:endParaRPr dirty="0">
              <a:solidFill>
                <a:schemeClr val="accen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8" name="Google Shape;650;p33"/>
          <p:cNvSpPr/>
          <p:nvPr/>
        </p:nvSpPr>
        <p:spPr>
          <a:xfrm>
            <a:off x="7125568" y="5080150"/>
            <a:ext cx="8880000" cy="10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</a:pPr>
            <a:r>
              <a:rPr lang="vi">
                <a:solidFill>
                  <a:srgbClr val="E06666"/>
                </a:solidFill>
                <a:latin typeface="Oswald"/>
                <a:ea typeface="Oswald"/>
                <a:cs typeface="Oswald"/>
                <a:sym typeface="Oswald"/>
              </a:rPr>
              <a:t>Các tài liệu thiết kế database</a:t>
            </a:r>
            <a:endParaRPr>
              <a:solidFill>
                <a:srgbClr val="E06666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19" name="Google Shape;651;p33"/>
          <p:cNvSpPr/>
          <p:nvPr/>
        </p:nvSpPr>
        <p:spPr>
          <a:xfrm>
            <a:off x="8453052" y="6393850"/>
            <a:ext cx="7330800" cy="10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</a:pPr>
            <a:r>
              <a:rPr lang="vi">
                <a:solidFill>
                  <a:srgbClr val="13A89C"/>
                </a:solidFill>
                <a:latin typeface="Oswald"/>
                <a:ea typeface="Oswald"/>
                <a:cs typeface="Oswald"/>
                <a:sym typeface="Oswald"/>
              </a:rPr>
              <a:t>Tài liệu mô tả hệ thống</a:t>
            </a:r>
            <a:endParaRPr>
              <a:solidFill>
                <a:srgbClr val="13A89C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20" name="Google Shape;652;p33"/>
          <p:cNvSpPr/>
          <p:nvPr/>
        </p:nvSpPr>
        <p:spPr>
          <a:xfrm>
            <a:off x="5775258" y="3771700"/>
            <a:ext cx="10403400" cy="10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</a:pPr>
            <a:r>
              <a:rPr lang="vi">
                <a:solidFill>
                  <a:srgbClr val="6AA84F"/>
                </a:solidFill>
                <a:latin typeface="Oswald"/>
                <a:ea typeface="Oswald"/>
                <a:cs typeface="Oswald"/>
                <a:sym typeface="Oswald"/>
              </a:rPr>
              <a:t>Chuyển giao các bộ tài liệu thiết kế ứng dụng</a:t>
            </a:r>
            <a:endParaRPr>
              <a:solidFill>
                <a:srgbClr val="6AA84F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21" name="Google Shape;653;p33"/>
          <p:cNvSpPr/>
          <p:nvPr/>
        </p:nvSpPr>
        <p:spPr>
          <a:xfrm rot="-8204142">
            <a:off x="3753473" y="4955538"/>
            <a:ext cx="569938" cy="1367552"/>
          </a:xfrm>
          <a:custGeom>
            <a:avLst/>
            <a:gdLst/>
            <a:ahLst/>
            <a:cxnLst/>
            <a:rect l="l" t="t" r="r" b="b"/>
            <a:pathLst>
              <a:path w="2441348" h="5857951" extrusionOk="0">
                <a:moveTo>
                  <a:pt x="1763938" y="1204941"/>
                </a:moveTo>
                <a:lnTo>
                  <a:pt x="1668964" y="1182466"/>
                </a:lnTo>
                <a:cubicBezTo>
                  <a:pt x="1654984" y="933229"/>
                  <a:pt x="1369034" y="485049"/>
                  <a:pt x="1259422" y="432222"/>
                </a:cubicBezTo>
                <a:cubicBezTo>
                  <a:pt x="1112566" y="505658"/>
                  <a:pt x="817961" y="971252"/>
                  <a:pt x="817476" y="1156572"/>
                </a:cubicBezTo>
                <a:lnTo>
                  <a:pt x="716361" y="1172058"/>
                </a:lnTo>
                <a:cubicBezTo>
                  <a:pt x="664741" y="872602"/>
                  <a:pt x="825275" y="370050"/>
                  <a:pt x="1278907" y="0"/>
                </a:cubicBezTo>
                <a:cubicBezTo>
                  <a:pt x="1905168" y="702753"/>
                  <a:pt x="1777055" y="1014507"/>
                  <a:pt x="1763938" y="1204941"/>
                </a:cubicBezTo>
                <a:close/>
                <a:moveTo>
                  <a:pt x="1387472" y="4410077"/>
                </a:moveTo>
                <a:cubicBezTo>
                  <a:pt x="1522739" y="4283499"/>
                  <a:pt x="1525220" y="4066355"/>
                  <a:pt x="1393013" y="3925071"/>
                </a:cubicBezTo>
                <a:cubicBezTo>
                  <a:pt x="1260806" y="3783789"/>
                  <a:pt x="1043975" y="3771868"/>
                  <a:pt x="908707" y="3898447"/>
                </a:cubicBezTo>
                <a:cubicBezTo>
                  <a:pt x="773440" y="4025025"/>
                  <a:pt x="770960" y="4242169"/>
                  <a:pt x="903167" y="4383453"/>
                </a:cubicBezTo>
                <a:cubicBezTo>
                  <a:pt x="1035374" y="4524735"/>
                  <a:pt x="1252205" y="4536656"/>
                  <a:pt x="1387472" y="4410077"/>
                </a:cubicBezTo>
                <a:close/>
                <a:moveTo>
                  <a:pt x="1080397" y="5857951"/>
                </a:moveTo>
                <a:cubicBezTo>
                  <a:pt x="570953" y="5284620"/>
                  <a:pt x="464219" y="4850445"/>
                  <a:pt x="390521" y="4594076"/>
                </a:cubicBezTo>
                <a:cubicBezTo>
                  <a:pt x="287141" y="4142268"/>
                  <a:pt x="404525" y="3297791"/>
                  <a:pt x="516633" y="2605208"/>
                </a:cubicBezTo>
                <a:lnTo>
                  <a:pt x="537977" y="2475095"/>
                </a:lnTo>
                <a:lnTo>
                  <a:pt x="0" y="1919108"/>
                </a:lnTo>
                <a:lnTo>
                  <a:pt x="138872" y="1323626"/>
                </a:lnTo>
                <a:lnTo>
                  <a:pt x="666670" y="1638443"/>
                </a:lnTo>
                <a:lnTo>
                  <a:pt x="732379" y="1596107"/>
                </a:lnTo>
                <a:lnTo>
                  <a:pt x="825022" y="1360459"/>
                </a:lnTo>
                <a:cubicBezTo>
                  <a:pt x="1034955" y="1297040"/>
                  <a:pt x="1299991" y="1281843"/>
                  <a:pt x="1633528" y="1377173"/>
                </a:cubicBezTo>
                <a:cubicBezTo>
                  <a:pt x="1671356" y="1442271"/>
                  <a:pt x="1696153" y="1573298"/>
                  <a:pt x="1723852" y="1621275"/>
                </a:cubicBezTo>
                <a:lnTo>
                  <a:pt x="1799419" y="1664856"/>
                </a:lnTo>
                <a:lnTo>
                  <a:pt x="2326560" y="1384926"/>
                </a:lnTo>
                <a:lnTo>
                  <a:pt x="2441348" y="2002464"/>
                </a:lnTo>
                <a:lnTo>
                  <a:pt x="1875112" y="2515511"/>
                </a:lnTo>
                <a:lnTo>
                  <a:pt x="1893053" y="2755037"/>
                </a:lnTo>
                <a:cubicBezTo>
                  <a:pt x="1925317" y="3216523"/>
                  <a:pt x="1950463" y="3719091"/>
                  <a:pt x="1943667" y="4091528"/>
                </a:cubicBezTo>
                <a:cubicBezTo>
                  <a:pt x="1893525" y="4469581"/>
                  <a:pt x="1836742" y="5137935"/>
                  <a:pt x="1080397" y="585795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36550" tIns="68300" rIns="136550" bIns="683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2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654;p33"/>
          <p:cNvSpPr/>
          <p:nvPr/>
        </p:nvSpPr>
        <p:spPr>
          <a:xfrm rot="5400000">
            <a:off x="6373162" y="7498125"/>
            <a:ext cx="1031940" cy="883334"/>
          </a:xfrm>
          <a:custGeom>
            <a:avLst/>
            <a:gdLst/>
            <a:ahLst/>
            <a:cxnLst/>
            <a:rect l="l" t="t" r="r" b="b"/>
            <a:pathLst>
              <a:path w="4586404" h="3925932" extrusionOk="0">
                <a:moveTo>
                  <a:pt x="1553046" y="1915488"/>
                </a:moveTo>
                <a:cubicBezTo>
                  <a:pt x="1541517" y="1619409"/>
                  <a:pt x="1872592" y="915226"/>
                  <a:pt x="2576735" y="866095"/>
                </a:cubicBezTo>
                <a:lnTo>
                  <a:pt x="2672964" y="1439826"/>
                </a:lnTo>
                <a:cubicBezTo>
                  <a:pt x="2292605" y="1541633"/>
                  <a:pt x="2220449" y="1699131"/>
                  <a:pt x="2133443" y="1919084"/>
                </a:cubicBezTo>
                <a:cubicBezTo>
                  <a:pt x="2017013" y="1924585"/>
                  <a:pt x="1759910" y="1904965"/>
                  <a:pt x="1553046" y="1915488"/>
                </a:cubicBezTo>
                <a:close/>
                <a:moveTo>
                  <a:pt x="1128775" y="2025072"/>
                </a:moveTo>
                <a:lnTo>
                  <a:pt x="1133078" y="2139150"/>
                </a:lnTo>
                <a:cubicBezTo>
                  <a:pt x="1154028" y="2415811"/>
                  <a:pt x="1246961" y="2672254"/>
                  <a:pt x="1393099" y="2889611"/>
                </a:cubicBezTo>
                <a:lnTo>
                  <a:pt x="1458018" y="2976844"/>
                </a:lnTo>
                <a:lnTo>
                  <a:pt x="1486961" y="2955501"/>
                </a:lnTo>
                <a:cubicBezTo>
                  <a:pt x="1501548" y="2948753"/>
                  <a:pt x="1517584" y="2945021"/>
                  <a:pt x="1534418" y="2945021"/>
                </a:cubicBezTo>
                <a:cubicBezTo>
                  <a:pt x="1601753" y="2945021"/>
                  <a:pt x="1656338" y="3004724"/>
                  <a:pt x="1656338" y="3078371"/>
                </a:cubicBezTo>
                <a:cubicBezTo>
                  <a:pt x="1656338" y="3096783"/>
                  <a:pt x="1652927" y="3114323"/>
                  <a:pt x="1646757" y="3130277"/>
                </a:cubicBezTo>
                <a:lnTo>
                  <a:pt x="1627590" y="3161372"/>
                </a:lnTo>
                <a:lnTo>
                  <a:pt x="1692239" y="3220412"/>
                </a:lnTo>
                <a:cubicBezTo>
                  <a:pt x="1926522" y="3414691"/>
                  <a:pt x="2218618" y="3541094"/>
                  <a:pt x="2538711" y="3569659"/>
                </a:cubicBezTo>
                <a:lnTo>
                  <a:pt x="2597583" y="3572274"/>
                </a:lnTo>
                <a:lnTo>
                  <a:pt x="2597583" y="3181409"/>
                </a:lnTo>
                <a:lnTo>
                  <a:pt x="2679324" y="3181409"/>
                </a:lnTo>
                <a:lnTo>
                  <a:pt x="2679324" y="3575733"/>
                </a:lnTo>
                <a:lnTo>
                  <a:pt x="2835893" y="3567789"/>
                </a:lnTo>
                <a:cubicBezTo>
                  <a:pt x="3128795" y="3537899"/>
                  <a:pt x="3397572" y="3426009"/>
                  <a:pt x="3619129" y="3255326"/>
                </a:cubicBezTo>
                <a:lnTo>
                  <a:pt x="3634649" y="3242220"/>
                </a:lnTo>
                <a:lnTo>
                  <a:pt x="3609195" y="3200928"/>
                </a:lnTo>
                <a:cubicBezTo>
                  <a:pt x="3603026" y="3184974"/>
                  <a:pt x="3599614" y="3167434"/>
                  <a:pt x="3599614" y="3149022"/>
                </a:cubicBezTo>
                <a:cubicBezTo>
                  <a:pt x="3599614" y="3075375"/>
                  <a:pt x="3654199" y="3015672"/>
                  <a:pt x="3721534" y="3015672"/>
                </a:cubicBezTo>
                <a:cubicBezTo>
                  <a:pt x="3755202" y="3015672"/>
                  <a:pt x="3785682" y="3030598"/>
                  <a:pt x="3807745" y="3054730"/>
                </a:cubicBezTo>
                <a:lnTo>
                  <a:pt x="3818263" y="3071793"/>
                </a:lnTo>
                <a:lnTo>
                  <a:pt x="3824089" y="3065904"/>
                </a:lnTo>
                <a:cubicBezTo>
                  <a:pt x="4042851" y="2824052"/>
                  <a:pt x="4186861" y="2512705"/>
                  <a:pt x="4219445" y="2168714"/>
                </a:cubicBezTo>
                <a:lnTo>
                  <a:pt x="4226214" y="2025073"/>
                </a:lnTo>
                <a:lnTo>
                  <a:pt x="3778683" y="2025073"/>
                </a:lnTo>
                <a:lnTo>
                  <a:pt x="3778683" y="1941253"/>
                </a:lnTo>
                <a:lnTo>
                  <a:pt x="4222340" y="1941253"/>
                </a:lnTo>
                <a:lnTo>
                  <a:pt x="4217593" y="1851685"/>
                </a:lnTo>
                <a:cubicBezTo>
                  <a:pt x="4176472" y="1466019"/>
                  <a:pt x="3995156" y="1122502"/>
                  <a:pt x="3725865" y="873604"/>
                </a:cubicBezTo>
                <a:lnTo>
                  <a:pt x="3690419" y="843671"/>
                </a:lnTo>
                <a:lnTo>
                  <a:pt x="3682015" y="857305"/>
                </a:lnTo>
                <a:cubicBezTo>
                  <a:pt x="3659952" y="881436"/>
                  <a:pt x="3629472" y="896362"/>
                  <a:pt x="3595804" y="896362"/>
                </a:cubicBezTo>
                <a:cubicBezTo>
                  <a:pt x="3528469" y="896362"/>
                  <a:pt x="3473884" y="836659"/>
                  <a:pt x="3473884" y="763012"/>
                </a:cubicBezTo>
                <a:cubicBezTo>
                  <a:pt x="3473884" y="744600"/>
                  <a:pt x="3477296" y="727060"/>
                  <a:pt x="3483465" y="711106"/>
                </a:cubicBezTo>
                <a:lnTo>
                  <a:pt x="3492596" y="696294"/>
                </a:lnTo>
                <a:lnTo>
                  <a:pt x="3382688" y="633244"/>
                </a:lnTo>
                <a:cubicBezTo>
                  <a:pt x="3215707" y="547305"/>
                  <a:pt x="3031161" y="490934"/>
                  <a:pt x="2835893" y="471008"/>
                </a:cubicBezTo>
                <a:lnTo>
                  <a:pt x="2679325" y="463064"/>
                </a:lnTo>
                <a:lnTo>
                  <a:pt x="2679325" y="843974"/>
                </a:lnTo>
                <a:lnTo>
                  <a:pt x="2597584" y="843974"/>
                </a:lnTo>
                <a:lnTo>
                  <a:pt x="2597584" y="466522"/>
                </a:lnTo>
                <a:lnTo>
                  <a:pt x="2538711" y="469137"/>
                </a:lnTo>
                <a:cubicBezTo>
                  <a:pt x="2218618" y="497702"/>
                  <a:pt x="1926522" y="624105"/>
                  <a:pt x="1692239" y="818384"/>
                </a:cubicBezTo>
                <a:lnTo>
                  <a:pt x="1611522" y="892098"/>
                </a:lnTo>
                <a:lnTo>
                  <a:pt x="1631693" y="924821"/>
                </a:lnTo>
                <a:cubicBezTo>
                  <a:pt x="1637863" y="940775"/>
                  <a:pt x="1641274" y="958315"/>
                  <a:pt x="1641274" y="976727"/>
                </a:cubicBezTo>
                <a:cubicBezTo>
                  <a:pt x="1641274" y="1050374"/>
                  <a:pt x="1586689" y="1110077"/>
                  <a:pt x="1519354" y="1110077"/>
                </a:cubicBezTo>
                <a:cubicBezTo>
                  <a:pt x="1502520" y="1110077"/>
                  <a:pt x="1486484" y="1106346"/>
                  <a:pt x="1471897" y="1099598"/>
                </a:cubicBezTo>
                <a:lnTo>
                  <a:pt x="1444847" y="1079650"/>
                </a:lnTo>
                <a:lnTo>
                  <a:pt x="1393099" y="1149186"/>
                </a:lnTo>
                <a:cubicBezTo>
                  <a:pt x="1246961" y="1366542"/>
                  <a:pt x="1154028" y="1622985"/>
                  <a:pt x="1133078" y="1899646"/>
                </a:cubicBezTo>
                <a:lnTo>
                  <a:pt x="1131509" y="1941253"/>
                </a:lnTo>
                <a:lnTo>
                  <a:pt x="1641274" y="1941253"/>
                </a:lnTo>
                <a:lnTo>
                  <a:pt x="1641274" y="2025072"/>
                </a:lnTo>
                <a:close/>
                <a:moveTo>
                  <a:pt x="0" y="2510136"/>
                </a:moveTo>
                <a:lnTo>
                  <a:pt x="0" y="1213200"/>
                </a:lnTo>
                <a:lnTo>
                  <a:pt x="519371" y="1213200"/>
                </a:lnTo>
                <a:lnTo>
                  <a:pt x="519371" y="1538599"/>
                </a:lnTo>
                <a:lnTo>
                  <a:pt x="833006" y="1538599"/>
                </a:lnTo>
                <a:lnTo>
                  <a:pt x="853631" y="1458706"/>
                </a:lnTo>
                <a:cubicBezTo>
                  <a:pt x="898957" y="1313557"/>
                  <a:pt x="961271" y="1175863"/>
                  <a:pt x="1038258" y="1047931"/>
                </a:cubicBezTo>
                <a:lnTo>
                  <a:pt x="1092484" y="965329"/>
                </a:lnTo>
                <a:lnTo>
                  <a:pt x="758066" y="571333"/>
                </a:lnTo>
                <a:lnTo>
                  <a:pt x="1431186" y="0"/>
                </a:lnTo>
                <a:lnTo>
                  <a:pt x="1742655" y="366959"/>
                </a:lnTo>
                <a:lnTo>
                  <a:pt x="1787373" y="341171"/>
                </a:lnTo>
                <a:cubicBezTo>
                  <a:pt x="2053059" y="201546"/>
                  <a:pt x="2355811" y="122504"/>
                  <a:pt x="2677098" y="122504"/>
                </a:cubicBezTo>
                <a:cubicBezTo>
                  <a:pt x="3731579" y="122504"/>
                  <a:pt x="4586404" y="973930"/>
                  <a:pt x="4586404" y="2024218"/>
                </a:cubicBezTo>
                <a:cubicBezTo>
                  <a:pt x="4586404" y="3074506"/>
                  <a:pt x="3731579" y="3925932"/>
                  <a:pt x="2677098" y="3925932"/>
                </a:cubicBezTo>
                <a:cubicBezTo>
                  <a:pt x="1688522" y="3925932"/>
                  <a:pt x="875425" y="3177609"/>
                  <a:pt x="777650" y="2218657"/>
                </a:cubicBezTo>
                <a:lnTo>
                  <a:pt x="773930" y="2145291"/>
                </a:lnTo>
                <a:lnTo>
                  <a:pt x="519371" y="2145291"/>
                </a:lnTo>
                <a:lnTo>
                  <a:pt x="519371" y="2510136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36550" tIns="68300" rIns="136550" bIns="683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2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655;p33"/>
          <p:cNvSpPr/>
          <p:nvPr/>
        </p:nvSpPr>
        <p:spPr>
          <a:xfrm>
            <a:off x="4825573" y="6401425"/>
            <a:ext cx="1027218" cy="983758"/>
          </a:xfrm>
          <a:custGeom>
            <a:avLst/>
            <a:gdLst/>
            <a:ahLst/>
            <a:cxnLst/>
            <a:rect l="l" t="t" r="r" b="b"/>
            <a:pathLst>
              <a:path w="5552535" h="5317607" extrusionOk="0">
                <a:moveTo>
                  <a:pt x="4163507" y="3631378"/>
                </a:moveTo>
                <a:cubicBezTo>
                  <a:pt x="3996734" y="3631378"/>
                  <a:pt x="3861538" y="3763663"/>
                  <a:pt x="3861538" y="3926844"/>
                </a:cubicBezTo>
                <a:cubicBezTo>
                  <a:pt x="3861538" y="4090025"/>
                  <a:pt x="3996734" y="4222310"/>
                  <a:pt x="4163507" y="4222310"/>
                </a:cubicBezTo>
                <a:cubicBezTo>
                  <a:pt x="4330280" y="4222310"/>
                  <a:pt x="4465476" y="4090025"/>
                  <a:pt x="4465476" y="3926844"/>
                </a:cubicBezTo>
                <a:cubicBezTo>
                  <a:pt x="4465476" y="3763663"/>
                  <a:pt x="4330280" y="3631378"/>
                  <a:pt x="4163507" y="3631378"/>
                </a:cubicBezTo>
                <a:close/>
                <a:moveTo>
                  <a:pt x="3693451" y="3177167"/>
                </a:moveTo>
                <a:cubicBezTo>
                  <a:pt x="3526678" y="3177167"/>
                  <a:pt x="3391482" y="3307474"/>
                  <a:pt x="3391482" y="3468216"/>
                </a:cubicBezTo>
                <a:cubicBezTo>
                  <a:pt x="3391482" y="3628958"/>
                  <a:pt x="3526678" y="3759265"/>
                  <a:pt x="3693451" y="3759265"/>
                </a:cubicBezTo>
                <a:cubicBezTo>
                  <a:pt x="3860224" y="3759265"/>
                  <a:pt x="3995420" y="3628958"/>
                  <a:pt x="3995420" y="3468216"/>
                </a:cubicBezTo>
                <a:cubicBezTo>
                  <a:pt x="3995420" y="3307474"/>
                  <a:pt x="3860224" y="3177167"/>
                  <a:pt x="3693451" y="3177167"/>
                </a:cubicBezTo>
                <a:close/>
                <a:moveTo>
                  <a:pt x="4627587" y="3171191"/>
                </a:moveTo>
                <a:cubicBezTo>
                  <a:pt x="4460814" y="3171191"/>
                  <a:pt x="4325618" y="3303476"/>
                  <a:pt x="4325618" y="3466657"/>
                </a:cubicBezTo>
                <a:cubicBezTo>
                  <a:pt x="4325618" y="3629838"/>
                  <a:pt x="4460814" y="3762123"/>
                  <a:pt x="4627587" y="3762123"/>
                </a:cubicBezTo>
                <a:cubicBezTo>
                  <a:pt x="4794360" y="3762123"/>
                  <a:pt x="4929556" y="3629838"/>
                  <a:pt x="4929556" y="3466657"/>
                </a:cubicBezTo>
                <a:cubicBezTo>
                  <a:pt x="4929556" y="3303476"/>
                  <a:pt x="4794360" y="3171191"/>
                  <a:pt x="4627587" y="3171191"/>
                </a:cubicBezTo>
                <a:close/>
                <a:moveTo>
                  <a:pt x="1155506" y="2776742"/>
                </a:moveTo>
                <a:lnTo>
                  <a:pt x="1155506" y="3229739"/>
                </a:lnTo>
                <a:lnTo>
                  <a:pt x="696533" y="3229739"/>
                </a:lnTo>
                <a:lnTo>
                  <a:pt x="696533" y="3698335"/>
                </a:lnTo>
                <a:lnTo>
                  <a:pt x="1155506" y="3698335"/>
                </a:lnTo>
                <a:lnTo>
                  <a:pt x="1155506" y="4163283"/>
                </a:lnTo>
                <a:lnTo>
                  <a:pt x="1624102" y="4163283"/>
                </a:lnTo>
                <a:lnTo>
                  <a:pt x="1624102" y="3698335"/>
                </a:lnTo>
                <a:lnTo>
                  <a:pt x="2083073" y="3698335"/>
                </a:lnTo>
                <a:lnTo>
                  <a:pt x="2083073" y="3229739"/>
                </a:lnTo>
                <a:lnTo>
                  <a:pt x="1624102" y="3229739"/>
                </a:lnTo>
                <a:lnTo>
                  <a:pt x="1624102" y="2776742"/>
                </a:lnTo>
                <a:close/>
                <a:moveTo>
                  <a:pt x="4164816" y="2710179"/>
                </a:moveTo>
                <a:cubicBezTo>
                  <a:pt x="3998043" y="2710179"/>
                  <a:pt x="3862847" y="2839682"/>
                  <a:pt x="3862847" y="2999432"/>
                </a:cubicBezTo>
                <a:cubicBezTo>
                  <a:pt x="3862847" y="3159182"/>
                  <a:pt x="3998043" y="3288685"/>
                  <a:pt x="4164816" y="3288685"/>
                </a:cubicBezTo>
                <a:cubicBezTo>
                  <a:pt x="4331589" y="3288685"/>
                  <a:pt x="4466785" y="3159182"/>
                  <a:pt x="4466785" y="2999432"/>
                </a:cubicBezTo>
                <a:cubicBezTo>
                  <a:pt x="4466785" y="2839682"/>
                  <a:pt x="4331589" y="2710179"/>
                  <a:pt x="4164816" y="2710179"/>
                </a:cubicBezTo>
                <a:close/>
                <a:moveTo>
                  <a:pt x="5317806" y="0"/>
                </a:moveTo>
                <a:cubicBezTo>
                  <a:pt x="5446046" y="0"/>
                  <a:pt x="5550005" y="103959"/>
                  <a:pt x="5550005" y="232199"/>
                </a:cubicBezTo>
                <a:lnTo>
                  <a:pt x="5550005" y="237063"/>
                </a:lnTo>
                <a:cubicBezTo>
                  <a:pt x="5550848" y="262208"/>
                  <a:pt x="5551692" y="287352"/>
                  <a:pt x="5552535" y="312497"/>
                </a:cubicBezTo>
                <a:cubicBezTo>
                  <a:pt x="5541997" y="600273"/>
                  <a:pt x="5212576" y="1090814"/>
                  <a:pt x="5017514" y="1178257"/>
                </a:cubicBezTo>
                <a:cubicBezTo>
                  <a:pt x="4404591" y="1453020"/>
                  <a:pt x="4209705" y="1367520"/>
                  <a:pt x="3856871" y="1406217"/>
                </a:cubicBezTo>
                <a:cubicBezTo>
                  <a:pt x="3059403" y="1577226"/>
                  <a:pt x="3067076" y="2214876"/>
                  <a:pt x="3038094" y="2244835"/>
                </a:cubicBezTo>
                <a:cubicBezTo>
                  <a:pt x="3037975" y="2248940"/>
                  <a:pt x="3037855" y="2253045"/>
                  <a:pt x="3037736" y="2257150"/>
                </a:cubicBezTo>
                <a:lnTo>
                  <a:pt x="3072559" y="2248762"/>
                </a:lnTo>
                <a:cubicBezTo>
                  <a:pt x="3371915" y="2159926"/>
                  <a:pt x="3574153" y="1970983"/>
                  <a:pt x="3641919" y="1938923"/>
                </a:cubicBezTo>
                <a:cubicBezTo>
                  <a:pt x="3727557" y="1923982"/>
                  <a:pt x="3863759" y="1840372"/>
                  <a:pt x="4053087" y="1838022"/>
                </a:cubicBezTo>
                <a:cubicBezTo>
                  <a:pt x="4166683" y="1836612"/>
                  <a:pt x="4299405" y="1864456"/>
                  <a:pt x="4451805" y="1953939"/>
                </a:cubicBezTo>
                <a:cubicBezTo>
                  <a:pt x="5180935" y="2450075"/>
                  <a:pt x="5330347" y="3095624"/>
                  <a:pt x="5503665" y="3681406"/>
                </a:cubicBezTo>
                <a:cubicBezTo>
                  <a:pt x="5577827" y="4104414"/>
                  <a:pt x="5535774" y="4833133"/>
                  <a:pt x="5386847" y="5005965"/>
                </a:cubicBezTo>
                <a:cubicBezTo>
                  <a:pt x="4867379" y="5603126"/>
                  <a:pt x="4467669" y="5170618"/>
                  <a:pt x="4323237" y="5041128"/>
                </a:cubicBezTo>
                <a:lnTo>
                  <a:pt x="3850894" y="4575658"/>
                </a:lnTo>
                <a:cubicBezTo>
                  <a:pt x="2940444" y="3768951"/>
                  <a:pt x="1886915" y="4357158"/>
                  <a:pt x="1777058" y="4503941"/>
                </a:cubicBezTo>
                <a:cubicBezTo>
                  <a:pt x="1529453" y="4703876"/>
                  <a:pt x="1347590" y="4939667"/>
                  <a:pt x="1111937" y="5133625"/>
                </a:cubicBezTo>
                <a:cubicBezTo>
                  <a:pt x="992846" y="5187413"/>
                  <a:pt x="651466" y="5614913"/>
                  <a:pt x="131513" y="4945986"/>
                </a:cubicBezTo>
                <a:cubicBezTo>
                  <a:pt x="-54545" y="4568198"/>
                  <a:pt x="-121074" y="3640575"/>
                  <a:pt x="469809" y="2611351"/>
                </a:cubicBezTo>
                <a:cubicBezTo>
                  <a:pt x="589338" y="2426518"/>
                  <a:pt x="987286" y="1986734"/>
                  <a:pt x="1154190" y="1926969"/>
                </a:cubicBezTo>
                <a:cubicBezTo>
                  <a:pt x="1415601" y="1773943"/>
                  <a:pt x="1790565" y="1871931"/>
                  <a:pt x="1920494" y="1957964"/>
                </a:cubicBezTo>
                <a:cubicBezTo>
                  <a:pt x="2148613" y="2142146"/>
                  <a:pt x="2361790" y="2237055"/>
                  <a:pt x="2555357" y="2274813"/>
                </a:cubicBezTo>
                <a:lnTo>
                  <a:pt x="2571098" y="2276828"/>
                </a:lnTo>
                <a:lnTo>
                  <a:pt x="2571930" y="2274717"/>
                </a:lnTo>
                <a:cubicBezTo>
                  <a:pt x="2627146" y="2214305"/>
                  <a:pt x="2494676" y="1416974"/>
                  <a:pt x="3540111" y="993842"/>
                </a:cubicBezTo>
                <a:cubicBezTo>
                  <a:pt x="3866644" y="899459"/>
                  <a:pt x="4267874" y="939189"/>
                  <a:pt x="4497084" y="881565"/>
                </a:cubicBezTo>
                <a:cubicBezTo>
                  <a:pt x="4726294" y="823941"/>
                  <a:pt x="5016704" y="691874"/>
                  <a:pt x="5080744" y="249266"/>
                </a:cubicBezTo>
                <a:lnTo>
                  <a:pt x="5086774" y="248637"/>
                </a:lnTo>
                <a:lnTo>
                  <a:pt x="5085607" y="237063"/>
                </a:lnTo>
                <a:lnTo>
                  <a:pt x="5085607" y="232199"/>
                </a:lnTo>
                <a:cubicBezTo>
                  <a:pt x="5085607" y="103959"/>
                  <a:pt x="5189566" y="0"/>
                  <a:pt x="5317806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36550" tIns="68300" rIns="136550" bIns="683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2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656;p33"/>
          <p:cNvSpPr/>
          <p:nvPr/>
        </p:nvSpPr>
        <p:spPr>
          <a:xfrm>
            <a:off x="2164649" y="3797854"/>
            <a:ext cx="869022" cy="1157724"/>
          </a:xfrm>
          <a:custGeom>
            <a:avLst/>
            <a:gdLst/>
            <a:ahLst/>
            <a:cxnLst/>
            <a:rect l="l" t="t" r="r" b="b"/>
            <a:pathLst>
              <a:path w="2715694" h="3617885" extrusionOk="0">
                <a:moveTo>
                  <a:pt x="2469214" y="696821"/>
                </a:moveTo>
                <a:lnTo>
                  <a:pt x="2140077" y="1027980"/>
                </a:lnTo>
                <a:lnTo>
                  <a:pt x="2151516" y="1042174"/>
                </a:lnTo>
                <a:cubicBezTo>
                  <a:pt x="2191705" y="1081425"/>
                  <a:pt x="2245091" y="1105347"/>
                  <a:pt x="2303677" y="1105347"/>
                </a:cubicBezTo>
                <a:cubicBezTo>
                  <a:pt x="2428661" y="1105347"/>
                  <a:pt x="2529981" y="996473"/>
                  <a:pt x="2529981" y="862169"/>
                </a:cubicBezTo>
                <a:cubicBezTo>
                  <a:pt x="2529981" y="799214"/>
                  <a:pt x="2507719" y="741847"/>
                  <a:pt x="2471192" y="698662"/>
                </a:cubicBezTo>
                <a:close/>
                <a:moveTo>
                  <a:pt x="1521387" y="0"/>
                </a:moveTo>
                <a:lnTo>
                  <a:pt x="1681033" y="158231"/>
                </a:lnTo>
                <a:lnTo>
                  <a:pt x="1802952" y="35223"/>
                </a:lnTo>
                <a:lnTo>
                  <a:pt x="2080719" y="310529"/>
                </a:lnTo>
                <a:lnTo>
                  <a:pt x="2170272" y="281816"/>
                </a:lnTo>
                <a:cubicBezTo>
                  <a:pt x="2209610" y="273502"/>
                  <a:pt x="2250341" y="269135"/>
                  <a:pt x="2292059" y="269135"/>
                </a:cubicBezTo>
                <a:cubicBezTo>
                  <a:pt x="2417214" y="269135"/>
                  <a:pt x="2533482" y="308433"/>
                  <a:pt x="2629929" y="375735"/>
                </a:cubicBezTo>
                <a:lnTo>
                  <a:pt x="2715694" y="448826"/>
                </a:lnTo>
                <a:lnTo>
                  <a:pt x="2519815" y="645909"/>
                </a:lnTo>
                <a:lnTo>
                  <a:pt x="2550558" y="684151"/>
                </a:lnTo>
                <a:cubicBezTo>
                  <a:pt x="2583137" y="733643"/>
                  <a:pt x="2602160" y="793307"/>
                  <a:pt x="2602160" y="857531"/>
                </a:cubicBezTo>
                <a:cubicBezTo>
                  <a:pt x="2602160" y="1028795"/>
                  <a:pt x="2466883" y="1167632"/>
                  <a:pt x="2300010" y="1167632"/>
                </a:cubicBezTo>
                <a:cubicBezTo>
                  <a:pt x="2237433" y="1167632"/>
                  <a:pt x="2179299" y="1148108"/>
                  <a:pt x="2131075" y="1114672"/>
                </a:cubicBezTo>
                <a:lnTo>
                  <a:pt x="2089177" y="1079193"/>
                </a:lnTo>
                <a:lnTo>
                  <a:pt x="1851611" y="1318218"/>
                </a:lnTo>
                <a:lnTo>
                  <a:pt x="1790965" y="1242297"/>
                </a:lnTo>
                <a:cubicBezTo>
                  <a:pt x="1725807" y="1142678"/>
                  <a:pt x="1687760" y="1022585"/>
                  <a:pt x="1687760" y="893313"/>
                </a:cubicBezTo>
                <a:cubicBezTo>
                  <a:pt x="1687760" y="850223"/>
                  <a:pt x="1691988" y="808152"/>
                  <a:pt x="1700037" y="767519"/>
                </a:cubicBezTo>
                <a:lnTo>
                  <a:pt x="1722603" y="692436"/>
                </a:lnTo>
                <a:lnTo>
                  <a:pt x="1635070" y="605679"/>
                </a:lnTo>
                <a:lnTo>
                  <a:pt x="461815" y="1565923"/>
                </a:lnTo>
                <a:lnTo>
                  <a:pt x="465126" y="1582218"/>
                </a:lnTo>
                <a:cubicBezTo>
                  <a:pt x="465126" y="1614129"/>
                  <a:pt x="458618" y="1644529"/>
                  <a:pt x="446850" y="1672180"/>
                </a:cubicBezTo>
                <a:lnTo>
                  <a:pt x="437501" y="1689296"/>
                </a:lnTo>
                <a:lnTo>
                  <a:pt x="1144377" y="3253656"/>
                </a:lnTo>
                <a:lnTo>
                  <a:pt x="1241815" y="3263179"/>
                </a:lnTo>
                <a:cubicBezTo>
                  <a:pt x="1287441" y="3272520"/>
                  <a:pt x="1328529" y="3286038"/>
                  <a:pt x="1363035" y="3302741"/>
                </a:cubicBezTo>
                <a:lnTo>
                  <a:pt x="1428089" y="3349449"/>
                </a:lnTo>
                <a:lnTo>
                  <a:pt x="1694501" y="3391912"/>
                </a:lnTo>
                <a:cubicBezTo>
                  <a:pt x="1867518" y="3430667"/>
                  <a:pt x="2004977" y="3485547"/>
                  <a:pt x="2087262" y="3550049"/>
                </a:cubicBezTo>
                <a:lnTo>
                  <a:pt x="2149142" y="3616143"/>
                </a:lnTo>
                <a:lnTo>
                  <a:pt x="1129070" y="3616143"/>
                </a:lnTo>
                <a:lnTo>
                  <a:pt x="1093372" y="3617885"/>
                </a:lnTo>
                <a:lnTo>
                  <a:pt x="1057675" y="3616143"/>
                </a:lnTo>
                <a:lnTo>
                  <a:pt x="27644" y="3616143"/>
                </a:lnTo>
                <a:lnTo>
                  <a:pt x="89525" y="3550049"/>
                </a:lnTo>
                <a:cubicBezTo>
                  <a:pt x="171810" y="3485547"/>
                  <a:pt x="309269" y="3430667"/>
                  <a:pt x="482286" y="3391912"/>
                </a:cubicBezTo>
                <a:lnTo>
                  <a:pt x="761497" y="3347409"/>
                </a:lnTo>
                <a:lnTo>
                  <a:pt x="823709" y="3302741"/>
                </a:lnTo>
                <a:cubicBezTo>
                  <a:pt x="840963" y="3294389"/>
                  <a:pt x="859861" y="3286834"/>
                  <a:pt x="880150" y="3280199"/>
                </a:cubicBezTo>
                <a:lnTo>
                  <a:pt x="881674" y="3279799"/>
                </a:lnTo>
                <a:lnTo>
                  <a:pt x="197360" y="1809810"/>
                </a:lnTo>
                <a:lnTo>
                  <a:pt x="185693" y="1808641"/>
                </a:lnTo>
                <a:cubicBezTo>
                  <a:pt x="79718" y="1787090"/>
                  <a:pt x="0" y="1693906"/>
                  <a:pt x="0" y="1582218"/>
                </a:cubicBezTo>
                <a:cubicBezTo>
                  <a:pt x="0" y="1454575"/>
                  <a:pt x="104122" y="1351100"/>
                  <a:pt x="232563" y="1351100"/>
                </a:cubicBezTo>
                <a:cubicBezTo>
                  <a:pt x="248618" y="1351100"/>
                  <a:pt x="264293" y="1352717"/>
                  <a:pt x="279432" y="1355796"/>
                </a:cubicBezTo>
                <a:lnTo>
                  <a:pt x="292377" y="1359789"/>
                </a:lnTo>
                <a:lnTo>
                  <a:pt x="1451206" y="423444"/>
                </a:lnTo>
                <a:lnTo>
                  <a:pt x="1434541" y="406927"/>
                </a:lnTo>
                <a:lnTo>
                  <a:pt x="1534709" y="305864"/>
                </a:lnTo>
                <a:lnTo>
                  <a:pt x="1375063" y="14763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36550" tIns="68300" rIns="136550" bIns="683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2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657;p33"/>
          <p:cNvSpPr txBox="1">
            <a:spLocks noGrp="1"/>
          </p:cNvSpPr>
          <p:nvPr>
            <p:ph type="sldNum" idx="4294967295"/>
          </p:nvPr>
        </p:nvSpPr>
        <p:spPr>
          <a:xfrm>
            <a:off x="6396650" y="3970072"/>
            <a:ext cx="265800" cy="151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35950" tIns="68000" rIns="135950" bIns="6800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vi"/>
              <a:pPr>
                <a:spcBef>
                  <a:spcPts val="0"/>
                </a:spcBef>
                <a:spcAft>
                  <a:spcPts val="0"/>
                </a:spcAft>
              </a:pPr>
              <a:t>9</a:t>
            </a:fld>
            <a:endParaRPr/>
          </a:p>
        </p:txBody>
      </p:sp>
      <p:sp>
        <p:nvSpPr>
          <p:cNvPr id="26" name="Google Shape;658;p33"/>
          <p:cNvSpPr txBox="1"/>
          <p:nvPr/>
        </p:nvSpPr>
        <p:spPr>
          <a:xfrm>
            <a:off x="7937910" y="7439208"/>
            <a:ext cx="1560000" cy="14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6000" b="1" cap="small">
                <a:solidFill>
                  <a:schemeClr val="lt1"/>
                </a:solidFill>
                <a:latin typeface="Oswald"/>
                <a:ea typeface="Oswald"/>
                <a:cs typeface="Oswald"/>
                <a:sym typeface="Oswald"/>
              </a:rPr>
              <a:t>05</a:t>
            </a:r>
            <a:endParaRPr sz="6000" b="1" cap="small">
              <a:solidFill>
                <a:schemeClr val="lt1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27" name="Google Shape;659;p33"/>
          <p:cNvSpPr/>
          <p:nvPr/>
        </p:nvSpPr>
        <p:spPr>
          <a:xfrm>
            <a:off x="9840100" y="7744950"/>
            <a:ext cx="8295600" cy="10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6550" tIns="68300" rIns="136550" bIns="68300" anchor="t" anchorCtr="0">
            <a:noAutofit/>
          </a:bodyPr>
          <a:lstStyle/>
          <a:p>
            <a:pPr algn="just">
              <a:lnSpc>
                <a:spcPct val="125000"/>
              </a:lnSpc>
              <a:spcBef>
                <a:spcPts val="0"/>
              </a:spcBef>
              <a:spcAft>
                <a:spcPts val="0"/>
              </a:spcAft>
            </a:pPr>
            <a:r>
              <a:rPr lang="vi">
                <a:solidFill>
                  <a:srgbClr val="FF9900"/>
                </a:solidFill>
                <a:latin typeface="Oswald"/>
                <a:ea typeface="Oswald"/>
                <a:cs typeface="Oswald"/>
                <a:sym typeface="Oswald"/>
              </a:rPr>
              <a:t>Tài liệu mô tả tính năng, hướng dẫn sử dụng</a:t>
            </a:r>
            <a:endParaRPr>
              <a:solidFill>
                <a:srgbClr val="FF9900"/>
              </a:solidFill>
              <a:latin typeface="Oswald"/>
              <a:ea typeface="Oswald"/>
              <a:cs typeface="Oswald"/>
              <a:sym typeface="Oswald"/>
            </a:endParaRPr>
          </a:p>
        </p:txBody>
      </p:sp>
      <p:sp>
        <p:nvSpPr>
          <p:cNvPr id="28" name="Google Shape;660;p33"/>
          <p:cNvSpPr/>
          <p:nvPr/>
        </p:nvSpPr>
        <p:spPr>
          <a:xfrm>
            <a:off x="7944975" y="8874549"/>
            <a:ext cx="596814" cy="918378"/>
          </a:xfrm>
          <a:custGeom>
            <a:avLst/>
            <a:gdLst/>
            <a:ahLst/>
            <a:cxnLst/>
            <a:rect l="l" t="t" r="r" b="b"/>
            <a:pathLst>
              <a:path w="450426" h="693116" extrusionOk="0">
                <a:moveTo>
                  <a:pt x="130202" y="640170"/>
                </a:moveTo>
                <a:lnTo>
                  <a:pt x="322091" y="641201"/>
                </a:lnTo>
                <a:lnTo>
                  <a:pt x="280423" y="676269"/>
                </a:lnTo>
                <a:lnTo>
                  <a:pt x="280423" y="688761"/>
                </a:lnTo>
                <a:cubicBezTo>
                  <a:pt x="280423" y="691166"/>
                  <a:pt x="278350" y="693116"/>
                  <a:pt x="275793" y="693116"/>
                </a:cubicBezTo>
                <a:lnTo>
                  <a:pt x="175402" y="693116"/>
                </a:lnTo>
                <a:cubicBezTo>
                  <a:pt x="172845" y="693116"/>
                  <a:pt x="170772" y="691166"/>
                  <a:pt x="170772" y="688761"/>
                </a:cubicBezTo>
                <a:lnTo>
                  <a:pt x="170772" y="674315"/>
                </a:lnTo>
                <a:close/>
                <a:moveTo>
                  <a:pt x="131179" y="615417"/>
                </a:moveTo>
                <a:lnTo>
                  <a:pt x="318639" y="615417"/>
                </a:lnTo>
                <a:cubicBezTo>
                  <a:pt x="320165" y="615417"/>
                  <a:pt x="321402" y="616580"/>
                  <a:pt x="321402" y="618015"/>
                </a:cubicBezTo>
                <a:lnTo>
                  <a:pt x="321402" y="628411"/>
                </a:lnTo>
                <a:cubicBezTo>
                  <a:pt x="321402" y="629846"/>
                  <a:pt x="320165" y="631010"/>
                  <a:pt x="318639" y="631010"/>
                </a:cubicBezTo>
                <a:lnTo>
                  <a:pt x="131179" y="631010"/>
                </a:lnTo>
                <a:cubicBezTo>
                  <a:pt x="129653" y="631010"/>
                  <a:pt x="128416" y="629846"/>
                  <a:pt x="128416" y="628411"/>
                </a:cubicBezTo>
                <a:lnTo>
                  <a:pt x="128416" y="618015"/>
                </a:lnTo>
                <a:cubicBezTo>
                  <a:pt x="128416" y="616580"/>
                  <a:pt x="129653" y="615417"/>
                  <a:pt x="131179" y="615417"/>
                </a:cubicBezTo>
                <a:close/>
                <a:moveTo>
                  <a:pt x="131179" y="590663"/>
                </a:moveTo>
                <a:lnTo>
                  <a:pt x="318639" y="590663"/>
                </a:lnTo>
                <a:cubicBezTo>
                  <a:pt x="320165" y="590663"/>
                  <a:pt x="321402" y="591826"/>
                  <a:pt x="321402" y="593261"/>
                </a:cubicBezTo>
                <a:lnTo>
                  <a:pt x="321402" y="603657"/>
                </a:lnTo>
                <a:cubicBezTo>
                  <a:pt x="321402" y="605092"/>
                  <a:pt x="320165" y="606256"/>
                  <a:pt x="318639" y="606256"/>
                </a:cubicBezTo>
                <a:lnTo>
                  <a:pt x="131179" y="606256"/>
                </a:lnTo>
                <a:cubicBezTo>
                  <a:pt x="129653" y="606256"/>
                  <a:pt x="128416" y="605092"/>
                  <a:pt x="128416" y="603657"/>
                </a:cubicBezTo>
                <a:lnTo>
                  <a:pt x="128416" y="593261"/>
                </a:lnTo>
                <a:cubicBezTo>
                  <a:pt x="128416" y="591826"/>
                  <a:pt x="129653" y="590663"/>
                  <a:pt x="131179" y="590663"/>
                </a:cubicBezTo>
                <a:close/>
                <a:moveTo>
                  <a:pt x="131179" y="564877"/>
                </a:moveTo>
                <a:lnTo>
                  <a:pt x="318639" y="564877"/>
                </a:lnTo>
                <a:cubicBezTo>
                  <a:pt x="320165" y="564877"/>
                  <a:pt x="321402" y="566040"/>
                  <a:pt x="321402" y="567476"/>
                </a:cubicBezTo>
                <a:lnTo>
                  <a:pt x="321402" y="577871"/>
                </a:lnTo>
                <a:cubicBezTo>
                  <a:pt x="321402" y="579307"/>
                  <a:pt x="320165" y="580470"/>
                  <a:pt x="318639" y="580470"/>
                </a:cubicBezTo>
                <a:lnTo>
                  <a:pt x="131179" y="580470"/>
                </a:lnTo>
                <a:cubicBezTo>
                  <a:pt x="129653" y="580470"/>
                  <a:pt x="128416" y="579307"/>
                  <a:pt x="128416" y="577871"/>
                </a:cubicBezTo>
                <a:lnTo>
                  <a:pt x="128416" y="567476"/>
                </a:lnTo>
                <a:cubicBezTo>
                  <a:pt x="128416" y="566040"/>
                  <a:pt x="129653" y="564877"/>
                  <a:pt x="131179" y="564877"/>
                </a:cubicBezTo>
                <a:close/>
                <a:moveTo>
                  <a:pt x="131179" y="538445"/>
                </a:moveTo>
                <a:lnTo>
                  <a:pt x="318639" y="538445"/>
                </a:lnTo>
                <a:cubicBezTo>
                  <a:pt x="320165" y="538445"/>
                  <a:pt x="321402" y="539608"/>
                  <a:pt x="321402" y="541044"/>
                </a:cubicBezTo>
                <a:lnTo>
                  <a:pt x="321402" y="551439"/>
                </a:lnTo>
                <a:cubicBezTo>
                  <a:pt x="321402" y="552874"/>
                  <a:pt x="320165" y="554038"/>
                  <a:pt x="318639" y="554038"/>
                </a:cubicBezTo>
                <a:lnTo>
                  <a:pt x="131179" y="554038"/>
                </a:lnTo>
                <a:cubicBezTo>
                  <a:pt x="129653" y="554038"/>
                  <a:pt x="128416" y="552874"/>
                  <a:pt x="128416" y="551439"/>
                </a:cubicBezTo>
                <a:lnTo>
                  <a:pt x="128416" y="541044"/>
                </a:lnTo>
                <a:cubicBezTo>
                  <a:pt x="128416" y="539608"/>
                  <a:pt x="129653" y="538445"/>
                  <a:pt x="131179" y="538445"/>
                </a:cubicBezTo>
                <a:close/>
                <a:moveTo>
                  <a:pt x="310009" y="525367"/>
                </a:moveTo>
                <a:lnTo>
                  <a:pt x="317810" y="525494"/>
                </a:lnTo>
                <a:cubicBezTo>
                  <a:pt x="320795" y="525629"/>
                  <a:pt x="311549" y="525739"/>
                  <a:pt x="310009" y="525367"/>
                </a:cubicBezTo>
                <a:close/>
                <a:moveTo>
                  <a:pt x="228887" y="0"/>
                </a:moveTo>
                <a:cubicBezTo>
                  <a:pt x="247650" y="573"/>
                  <a:pt x="264828" y="802"/>
                  <a:pt x="282982" y="4814"/>
                </a:cubicBezTo>
                <a:cubicBezTo>
                  <a:pt x="301135" y="8825"/>
                  <a:pt x="322700" y="16618"/>
                  <a:pt x="337807" y="24067"/>
                </a:cubicBezTo>
                <a:cubicBezTo>
                  <a:pt x="352915" y="31516"/>
                  <a:pt x="361687" y="39309"/>
                  <a:pt x="373626" y="49509"/>
                </a:cubicBezTo>
                <a:cubicBezTo>
                  <a:pt x="385566" y="59708"/>
                  <a:pt x="399455" y="72200"/>
                  <a:pt x="409446" y="85264"/>
                </a:cubicBezTo>
                <a:cubicBezTo>
                  <a:pt x="419436" y="98329"/>
                  <a:pt x="427477" y="114717"/>
                  <a:pt x="433569" y="127897"/>
                </a:cubicBezTo>
                <a:cubicBezTo>
                  <a:pt x="439661" y="141076"/>
                  <a:pt x="443194" y="151619"/>
                  <a:pt x="445996" y="164340"/>
                </a:cubicBezTo>
                <a:cubicBezTo>
                  <a:pt x="448798" y="177061"/>
                  <a:pt x="450748" y="189094"/>
                  <a:pt x="450382" y="204222"/>
                </a:cubicBezTo>
                <a:cubicBezTo>
                  <a:pt x="450017" y="219349"/>
                  <a:pt x="447580" y="238488"/>
                  <a:pt x="443803" y="255105"/>
                </a:cubicBezTo>
                <a:cubicBezTo>
                  <a:pt x="440026" y="271723"/>
                  <a:pt x="433447" y="290288"/>
                  <a:pt x="427721" y="303926"/>
                </a:cubicBezTo>
                <a:cubicBezTo>
                  <a:pt x="421995" y="317564"/>
                  <a:pt x="415416" y="326044"/>
                  <a:pt x="409446" y="336931"/>
                </a:cubicBezTo>
                <a:cubicBezTo>
                  <a:pt x="403476" y="347819"/>
                  <a:pt x="397384" y="359508"/>
                  <a:pt x="391902" y="369249"/>
                </a:cubicBezTo>
                <a:cubicBezTo>
                  <a:pt x="386419" y="378991"/>
                  <a:pt x="381180" y="387013"/>
                  <a:pt x="376551" y="395379"/>
                </a:cubicBezTo>
                <a:cubicBezTo>
                  <a:pt x="371921" y="403745"/>
                  <a:pt x="367900" y="411996"/>
                  <a:pt x="364123" y="419445"/>
                </a:cubicBezTo>
                <a:cubicBezTo>
                  <a:pt x="360347" y="426894"/>
                  <a:pt x="355961" y="434114"/>
                  <a:pt x="353889" y="440074"/>
                </a:cubicBezTo>
                <a:cubicBezTo>
                  <a:pt x="351818" y="446033"/>
                  <a:pt x="352915" y="446721"/>
                  <a:pt x="351696" y="455201"/>
                </a:cubicBezTo>
                <a:cubicBezTo>
                  <a:pt x="350478" y="463682"/>
                  <a:pt x="350478" y="479955"/>
                  <a:pt x="346579" y="490957"/>
                </a:cubicBezTo>
                <a:cubicBezTo>
                  <a:pt x="342681" y="501959"/>
                  <a:pt x="334396" y="515482"/>
                  <a:pt x="328304" y="521212"/>
                </a:cubicBezTo>
                <a:cubicBezTo>
                  <a:pt x="322212" y="526942"/>
                  <a:pt x="313928" y="524650"/>
                  <a:pt x="310029" y="525338"/>
                </a:cubicBezTo>
                <a:cubicBezTo>
                  <a:pt x="310020" y="525339"/>
                  <a:pt x="310012" y="525341"/>
                  <a:pt x="310009" y="525367"/>
                </a:cubicBezTo>
                <a:cubicBezTo>
                  <a:pt x="308545" y="525355"/>
                  <a:pt x="306855" y="525346"/>
                  <a:pt x="304912" y="525338"/>
                </a:cubicBezTo>
                <a:cubicBezTo>
                  <a:pt x="304835" y="525339"/>
                  <a:pt x="164672" y="526484"/>
                  <a:pt x="134588" y="524650"/>
                </a:cubicBezTo>
                <a:lnTo>
                  <a:pt x="124353" y="514336"/>
                </a:lnTo>
                <a:cubicBezTo>
                  <a:pt x="119846" y="510096"/>
                  <a:pt x="113754" y="504480"/>
                  <a:pt x="109002" y="498521"/>
                </a:cubicBezTo>
                <a:cubicBezTo>
                  <a:pt x="104251" y="492562"/>
                  <a:pt x="97915" y="486029"/>
                  <a:pt x="95844" y="478580"/>
                </a:cubicBezTo>
                <a:cubicBezTo>
                  <a:pt x="93773" y="471131"/>
                  <a:pt x="96941" y="461734"/>
                  <a:pt x="96575" y="453826"/>
                </a:cubicBezTo>
                <a:cubicBezTo>
                  <a:pt x="96210" y="445918"/>
                  <a:pt x="95601" y="437552"/>
                  <a:pt x="93651" y="431135"/>
                </a:cubicBezTo>
                <a:cubicBezTo>
                  <a:pt x="91702" y="424717"/>
                  <a:pt x="89143" y="423227"/>
                  <a:pt x="84879" y="415320"/>
                </a:cubicBezTo>
                <a:cubicBezTo>
                  <a:pt x="80615" y="407412"/>
                  <a:pt x="74280" y="394577"/>
                  <a:pt x="68066" y="383689"/>
                </a:cubicBezTo>
                <a:cubicBezTo>
                  <a:pt x="61852" y="372802"/>
                  <a:pt x="54786" y="361915"/>
                  <a:pt x="47598" y="349996"/>
                </a:cubicBezTo>
                <a:cubicBezTo>
                  <a:pt x="40410" y="338077"/>
                  <a:pt x="31272" y="325127"/>
                  <a:pt x="24937" y="312177"/>
                </a:cubicBezTo>
                <a:cubicBezTo>
                  <a:pt x="18601" y="299227"/>
                  <a:pt x="13606" y="285360"/>
                  <a:pt x="9586" y="272296"/>
                </a:cubicBezTo>
                <a:cubicBezTo>
                  <a:pt x="5565" y="259231"/>
                  <a:pt x="2154" y="248917"/>
                  <a:pt x="813" y="233789"/>
                </a:cubicBezTo>
                <a:cubicBezTo>
                  <a:pt x="-527" y="218662"/>
                  <a:pt x="-161" y="197804"/>
                  <a:pt x="1544" y="181531"/>
                </a:cubicBezTo>
                <a:cubicBezTo>
                  <a:pt x="3250" y="165257"/>
                  <a:pt x="5078" y="151390"/>
                  <a:pt x="11048" y="136148"/>
                </a:cubicBezTo>
                <a:cubicBezTo>
                  <a:pt x="17017" y="120906"/>
                  <a:pt x="28226" y="103257"/>
                  <a:pt x="37364" y="90078"/>
                </a:cubicBezTo>
                <a:cubicBezTo>
                  <a:pt x="46501" y="76899"/>
                  <a:pt x="56004" y="66584"/>
                  <a:pt x="65873" y="57072"/>
                </a:cubicBezTo>
                <a:cubicBezTo>
                  <a:pt x="75742" y="47560"/>
                  <a:pt x="86219" y="39882"/>
                  <a:pt x="96575" y="33006"/>
                </a:cubicBezTo>
                <a:cubicBezTo>
                  <a:pt x="106931" y="26130"/>
                  <a:pt x="115703" y="21087"/>
                  <a:pt x="128009" y="15815"/>
                </a:cubicBezTo>
                <a:cubicBezTo>
                  <a:pt x="140314" y="10544"/>
                  <a:pt x="153594" y="4011"/>
                  <a:pt x="170407" y="13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51300" tIns="25650" rIns="51300" bIns="256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13915159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WordArt 5"/>
          <p:cNvSpPr>
            <a:spLocks noChangeArrowheads="1" noChangeShapeType="1" noTextEdit="1"/>
          </p:cNvSpPr>
          <p:nvPr/>
        </p:nvSpPr>
        <p:spPr bwMode="invGray">
          <a:xfrm>
            <a:off x="7285221" y="3537679"/>
            <a:ext cx="9578714" cy="1394086"/>
          </a:xfrm>
          <a:prstGeom prst="rect">
            <a:avLst/>
          </a:prstGeom>
          <a:effectLst>
            <a:reflection blurRad="6350" stA="50000" endA="300" endPos="38500" dist="50800" dir="5400000" sy="-100000" algn="bl" rotWithShape="0"/>
          </a:effectLst>
          <a:scene3d>
            <a:camera prst="perspectiveHeroicExtremeRightFacing"/>
            <a:lightRig rig="threePt" dir="t"/>
          </a:scene3d>
          <a:sp3d>
            <a:bevelT prst="angle"/>
          </a:sp3d>
        </p:spPr>
        <p:txBody>
          <a:bodyPr wrap="none" fromWordArt="1">
            <a:prstTxWarp prst="textDeflate">
              <a:avLst>
                <a:gd name="adj" fmla="val 0"/>
              </a:avLst>
            </a:prstTxWarp>
          </a:bodyPr>
          <a:lstStyle/>
          <a:p>
            <a:pPr algn="ctr"/>
            <a:r>
              <a:rPr lang="en-US" sz="11500" b="1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0" scaled="1"/>
                </a:gradFill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  <a:cs typeface="Arial" panose="020B0604020202020204" pitchFamily="34" charset="0"/>
              </a:rPr>
              <a:t>Thank You !</a:t>
            </a:r>
          </a:p>
        </p:txBody>
      </p:sp>
      <p:pic>
        <p:nvPicPr>
          <p:cNvPr id="10" name="Picture 7" descr="H:\THUHA\SLIDE\SLIDE-VNPT-MEDIA-NTS\DESIGN\LOGO\logo-vnpt-media-01.png">
            <a:extLst>
              <a:ext uri="{FF2B5EF4-FFF2-40B4-BE49-F238E27FC236}">
                <a16:creationId xmlns:a16="http://schemas.microsoft.com/office/drawing/2014/main" id="{55EB7870-DD11-0D4B-8FB0-63FD0FBA8F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40836" y="29980"/>
            <a:ext cx="3087687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9" descr="H:\THUHA\SLIDE\SLIDE-VNPT-MEDIA-NTS\DESIGN\LOGO\thanhvien-01.png">
            <a:extLst>
              <a:ext uri="{FF2B5EF4-FFF2-40B4-BE49-F238E27FC236}">
                <a16:creationId xmlns:a16="http://schemas.microsoft.com/office/drawing/2014/main" id="{BE929CE2-4ABF-2B45-86D5-D61CFD47D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410" y="9846858"/>
            <a:ext cx="3084513" cy="315912"/>
          </a:xfrm>
          <a:prstGeom prst="rect">
            <a:avLst/>
          </a:prstGeom>
          <a:noFill/>
          <a:ln>
            <a:noFill/>
          </a:ln>
          <a:effectLst>
            <a:glow rad="127000">
              <a:schemeClr val="bg1"/>
            </a:glow>
          </a:effectLst>
        </p:spPr>
      </p:pic>
    </p:spTree>
    <p:extLst>
      <p:ext uri="{BB962C8B-B14F-4D97-AF65-F5344CB8AC3E}">
        <p14:creationId xmlns:p14="http://schemas.microsoft.com/office/powerpoint/2010/main" val="22965006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250">
        <p15:prstTrans prst="origami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>
              <a:latin typeface="Roboto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Roboto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Roboto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>
              <a:latin typeface="Roboto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>
              <a:latin typeface="Roboto"/>
            </a:endParaRPr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Roboto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Roboto"/>
              <a:cs typeface="Arial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2526127" y="2013759"/>
            <a:ext cx="12351239" cy="6951040"/>
            <a:chOff x="1196828" y="1282239"/>
            <a:chExt cx="12351239" cy="6951040"/>
          </a:xfrm>
        </p:grpSpPr>
        <p:sp>
          <p:nvSpPr>
            <p:cNvPr id="3" name="Bent-Up Arrow 2"/>
            <p:cNvSpPr/>
            <p:nvPr/>
          </p:nvSpPr>
          <p:spPr>
            <a:xfrm rot="5400000">
              <a:off x="2339828" y="2196639"/>
              <a:ext cx="1463040" cy="109728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2700" prstMaterial="flat">
              <a:bevelT w="177800" h="254000"/>
              <a:bevelB w="152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" name="Freeform 3"/>
            <p:cNvSpPr/>
            <p:nvPr/>
          </p:nvSpPr>
          <p:spPr>
            <a:xfrm>
              <a:off x="1196828" y="1282239"/>
              <a:ext cx="2651760" cy="731520"/>
            </a:xfrm>
            <a:custGeom>
              <a:avLst/>
              <a:gdLst>
                <a:gd name="connsiteX0" fmla="*/ 0 w 1945080"/>
                <a:gd name="connsiteY0" fmla="*/ 226961 h 1361493"/>
                <a:gd name="connsiteX1" fmla="*/ 226961 w 1945080"/>
                <a:gd name="connsiteY1" fmla="*/ 0 h 1361493"/>
                <a:gd name="connsiteX2" fmla="*/ 1718119 w 1945080"/>
                <a:gd name="connsiteY2" fmla="*/ 0 h 1361493"/>
                <a:gd name="connsiteX3" fmla="*/ 1945080 w 1945080"/>
                <a:gd name="connsiteY3" fmla="*/ 226961 h 1361493"/>
                <a:gd name="connsiteX4" fmla="*/ 1945080 w 1945080"/>
                <a:gd name="connsiteY4" fmla="*/ 1134532 h 1361493"/>
                <a:gd name="connsiteX5" fmla="*/ 1718119 w 1945080"/>
                <a:gd name="connsiteY5" fmla="*/ 1361493 h 1361493"/>
                <a:gd name="connsiteX6" fmla="*/ 226961 w 1945080"/>
                <a:gd name="connsiteY6" fmla="*/ 1361493 h 1361493"/>
                <a:gd name="connsiteX7" fmla="*/ 0 w 1945080"/>
                <a:gd name="connsiteY7" fmla="*/ 1134532 h 1361493"/>
                <a:gd name="connsiteX8" fmla="*/ 0 w 1945080"/>
                <a:gd name="connsiteY8" fmla="*/ 226961 h 136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080" h="1361493">
                  <a:moveTo>
                    <a:pt x="0" y="226961"/>
                  </a:moveTo>
                  <a:cubicBezTo>
                    <a:pt x="0" y="101614"/>
                    <a:pt x="101614" y="0"/>
                    <a:pt x="226961" y="0"/>
                  </a:cubicBezTo>
                  <a:lnTo>
                    <a:pt x="1718119" y="0"/>
                  </a:lnTo>
                  <a:cubicBezTo>
                    <a:pt x="1843466" y="0"/>
                    <a:pt x="1945080" y="101614"/>
                    <a:pt x="1945080" y="226961"/>
                  </a:cubicBezTo>
                  <a:lnTo>
                    <a:pt x="1945080" y="1134532"/>
                  </a:lnTo>
                  <a:cubicBezTo>
                    <a:pt x="1945080" y="1259879"/>
                    <a:pt x="1843466" y="1361493"/>
                    <a:pt x="1718119" y="1361493"/>
                  </a:cubicBezTo>
                  <a:lnTo>
                    <a:pt x="226961" y="1361493"/>
                  </a:lnTo>
                  <a:cubicBezTo>
                    <a:pt x="101614" y="1361493"/>
                    <a:pt x="0" y="1259879"/>
                    <a:pt x="0" y="1134532"/>
                  </a:cubicBezTo>
                  <a:lnTo>
                    <a:pt x="0" y="226961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295" tIns="150295" rIns="150295" bIns="150295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>
                  <a:latin typeface="Roboto"/>
                </a:rPr>
                <a:t>VIDEO</a:t>
              </a:r>
            </a:p>
          </p:txBody>
        </p:sp>
        <p:sp>
          <p:nvSpPr>
            <p:cNvPr id="8" name="Bent-Up Arrow 7"/>
            <p:cNvSpPr/>
            <p:nvPr/>
          </p:nvSpPr>
          <p:spPr>
            <a:xfrm rot="5400000">
              <a:off x="4769827" y="3751519"/>
              <a:ext cx="1463040" cy="109728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2700" prstMaterial="flat">
              <a:bevelT w="177800" h="254000"/>
              <a:bevelB w="152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-4019912"/>
                <a:satOff val="8042"/>
                <a:lumOff val="3408"/>
                <a:alphaOff val="0"/>
              </a:schemeClr>
            </a:fillRef>
            <a:effectRef idx="1">
              <a:schemeClr val="accent1">
                <a:tint val="50000"/>
                <a:hueOff val="-4019912"/>
                <a:satOff val="8042"/>
                <a:lumOff val="3408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Freeform 8"/>
            <p:cNvSpPr/>
            <p:nvPr/>
          </p:nvSpPr>
          <p:spPr>
            <a:xfrm>
              <a:off x="3626827" y="2837119"/>
              <a:ext cx="2651760" cy="731520"/>
            </a:xfrm>
            <a:custGeom>
              <a:avLst/>
              <a:gdLst>
                <a:gd name="connsiteX0" fmla="*/ 0 w 1945080"/>
                <a:gd name="connsiteY0" fmla="*/ 226961 h 1361493"/>
                <a:gd name="connsiteX1" fmla="*/ 226961 w 1945080"/>
                <a:gd name="connsiteY1" fmla="*/ 0 h 1361493"/>
                <a:gd name="connsiteX2" fmla="*/ 1718119 w 1945080"/>
                <a:gd name="connsiteY2" fmla="*/ 0 h 1361493"/>
                <a:gd name="connsiteX3" fmla="*/ 1945080 w 1945080"/>
                <a:gd name="connsiteY3" fmla="*/ 226961 h 1361493"/>
                <a:gd name="connsiteX4" fmla="*/ 1945080 w 1945080"/>
                <a:gd name="connsiteY4" fmla="*/ 1134532 h 1361493"/>
                <a:gd name="connsiteX5" fmla="*/ 1718119 w 1945080"/>
                <a:gd name="connsiteY5" fmla="*/ 1361493 h 1361493"/>
                <a:gd name="connsiteX6" fmla="*/ 226961 w 1945080"/>
                <a:gd name="connsiteY6" fmla="*/ 1361493 h 1361493"/>
                <a:gd name="connsiteX7" fmla="*/ 0 w 1945080"/>
                <a:gd name="connsiteY7" fmla="*/ 1134532 h 1361493"/>
                <a:gd name="connsiteX8" fmla="*/ 0 w 1945080"/>
                <a:gd name="connsiteY8" fmla="*/ 226961 h 136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080" h="1361493">
                  <a:moveTo>
                    <a:pt x="0" y="226961"/>
                  </a:moveTo>
                  <a:cubicBezTo>
                    <a:pt x="0" y="101614"/>
                    <a:pt x="101614" y="0"/>
                    <a:pt x="226961" y="0"/>
                  </a:cubicBezTo>
                  <a:lnTo>
                    <a:pt x="1718119" y="0"/>
                  </a:lnTo>
                  <a:cubicBezTo>
                    <a:pt x="1843466" y="0"/>
                    <a:pt x="1945080" y="101614"/>
                    <a:pt x="1945080" y="226961"/>
                  </a:cubicBezTo>
                  <a:lnTo>
                    <a:pt x="1945080" y="1134532"/>
                  </a:lnTo>
                  <a:cubicBezTo>
                    <a:pt x="1945080" y="1259879"/>
                    <a:pt x="1843466" y="1361493"/>
                    <a:pt x="1718119" y="1361493"/>
                  </a:cubicBezTo>
                  <a:lnTo>
                    <a:pt x="226961" y="1361493"/>
                  </a:lnTo>
                  <a:cubicBezTo>
                    <a:pt x="101614" y="1361493"/>
                    <a:pt x="0" y="1259879"/>
                    <a:pt x="0" y="1134532"/>
                  </a:cubicBezTo>
                  <a:lnTo>
                    <a:pt x="0" y="226961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295" tIns="150295" rIns="150295" bIns="150295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>
                  <a:latin typeface="Roboto"/>
                  <a:cs typeface="Times New Roman" panose="02020603050405020304" pitchFamily="18" charset="0"/>
                </a:rPr>
                <a:t>Frame Generation</a:t>
              </a:r>
              <a:endParaRPr lang="en-US" sz="2000" kern="1200">
                <a:latin typeface="Roboto"/>
              </a:endParaRPr>
            </a:p>
          </p:txBody>
        </p:sp>
        <p:sp>
          <p:nvSpPr>
            <p:cNvPr id="11" name="Bent-Up Arrow 10"/>
            <p:cNvSpPr/>
            <p:nvPr/>
          </p:nvSpPr>
          <p:spPr>
            <a:xfrm rot="5400000">
              <a:off x="7192987" y="5306399"/>
              <a:ext cx="1463040" cy="109728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2700" prstMaterial="flat">
              <a:bevelT w="177800" h="254000"/>
              <a:bevelB w="152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-8039823"/>
                <a:satOff val="16083"/>
                <a:lumOff val="6817"/>
                <a:alphaOff val="0"/>
              </a:schemeClr>
            </a:fillRef>
            <a:effectRef idx="1">
              <a:schemeClr val="accent1">
                <a:tint val="50000"/>
                <a:hueOff val="-8039823"/>
                <a:satOff val="16083"/>
                <a:lumOff val="6817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049987" y="4391999"/>
              <a:ext cx="2651760" cy="731520"/>
            </a:xfrm>
            <a:custGeom>
              <a:avLst/>
              <a:gdLst>
                <a:gd name="connsiteX0" fmla="*/ 0 w 1945080"/>
                <a:gd name="connsiteY0" fmla="*/ 226961 h 1361493"/>
                <a:gd name="connsiteX1" fmla="*/ 226961 w 1945080"/>
                <a:gd name="connsiteY1" fmla="*/ 0 h 1361493"/>
                <a:gd name="connsiteX2" fmla="*/ 1718119 w 1945080"/>
                <a:gd name="connsiteY2" fmla="*/ 0 h 1361493"/>
                <a:gd name="connsiteX3" fmla="*/ 1945080 w 1945080"/>
                <a:gd name="connsiteY3" fmla="*/ 226961 h 1361493"/>
                <a:gd name="connsiteX4" fmla="*/ 1945080 w 1945080"/>
                <a:gd name="connsiteY4" fmla="*/ 1134532 h 1361493"/>
                <a:gd name="connsiteX5" fmla="*/ 1718119 w 1945080"/>
                <a:gd name="connsiteY5" fmla="*/ 1361493 h 1361493"/>
                <a:gd name="connsiteX6" fmla="*/ 226961 w 1945080"/>
                <a:gd name="connsiteY6" fmla="*/ 1361493 h 1361493"/>
                <a:gd name="connsiteX7" fmla="*/ 0 w 1945080"/>
                <a:gd name="connsiteY7" fmla="*/ 1134532 h 1361493"/>
                <a:gd name="connsiteX8" fmla="*/ 0 w 1945080"/>
                <a:gd name="connsiteY8" fmla="*/ 226961 h 136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080" h="1361493">
                  <a:moveTo>
                    <a:pt x="0" y="226961"/>
                  </a:moveTo>
                  <a:cubicBezTo>
                    <a:pt x="0" y="101614"/>
                    <a:pt x="101614" y="0"/>
                    <a:pt x="226961" y="0"/>
                  </a:cubicBezTo>
                  <a:lnTo>
                    <a:pt x="1718119" y="0"/>
                  </a:lnTo>
                  <a:cubicBezTo>
                    <a:pt x="1843466" y="0"/>
                    <a:pt x="1945080" y="101614"/>
                    <a:pt x="1945080" y="226961"/>
                  </a:cubicBezTo>
                  <a:lnTo>
                    <a:pt x="1945080" y="1134532"/>
                  </a:lnTo>
                  <a:cubicBezTo>
                    <a:pt x="1945080" y="1259879"/>
                    <a:pt x="1843466" y="1361493"/>
                    <a:pt x="1718119" y="1361493"/>
                  </a:cubicBezTo>
                  <a:lnTo>
                    <a:pt x="226961" y="1361493"/>
                  </a:lnTo>
                  <a:cubicBezTo>
                    <a:pt x="101614" y="1361493"/>
                    <a:pt x="0" y="1259879"/>
                    <a:pt x="0" y="1134532"/>
                  </a:cubicBezTo>
                  <a:lnTo>
                    <a:pt x="0" y="226961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295" tIns="150295" rIns="150295" bIns="150295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>
                  <a:latin typeface="Roboto"/>
                </a:rPr>
                <a:t>IMAGE PREPROCESS</a:t>
              </a:r>
            </a:p>
          </p:txBody>
        </p:sp>
        <p:sp>
          <p:nvSpPr>
            <p:cNvPr id="14" name="Bent-Up Arrow 13"/>
            <p:cNvSpPr/>
            <p:nvPr/>
          </p:nvSpPr>
          <p:spPr>
            <a:xfrm rot="5400000">
              <a:off x="9616147" y="6861279"/>
              <a:ext cx="1463040" cy="109728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2700" prstMaterial="flat">
              <a:bevelT w="177800" h="254000"/>
              <a:bevelB w="152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-12059734"/>
                <a:satOff val="24125"/>
                <a:lumOff val="10225"/>
                <a:alphaOff val="0"/>
              </a:schemeClr>
            </a:fillRef>
            <a:effectRef idx="1">
              <a:schemeClr val="accent1">
                <a:tint val="50000"/>
                <a:hueOff val="-12059734"/>
                <a:satOff val="24125"/>
                <a:lumOff val="10225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473147" y="5946879"/>
              <a:ext cx="2651760" cy="731520"/>
            </a:xfrm>
            <a:custGeom>
              <a:avLst/>
              <a:gdLst>
                <a:gd name="connsiteX0" fmla="*/ 0 w 1945080"/>
                <a:gd name="connsiteY0" fmla="*/ 226961 h 1361493"/>
                <a:gd name="connsiteX1" fmla="*/ 226961 w 1945080"/>
                <a:gd name="connsiteY1" fmla="*/ 0 h 1361493"/>
                <a:gd name="connsiteX2" fmla="*/ 1718119 w 1945080"/>
                <a:gd name="connsiteY2" fmla="*/ 0 h 1361493"/>
                <a:gd name="connsiteX3" fmla="*/ 1945080 w 1945080"/>
                <a:gd name="connsiteY3" fmla="*/ 226961 h 1361493"/>
                <a:gd name="connsiteX4" fmla="*/ 1945080 w 1945080"/>
                <a:gd name="connsiteY4" fmla="*/ 1134532 h 1361493"/>
                <a:gd name="connsiteX5" fmla="*/ 1718119 w 1945080"/>
                <a:gd name="connsiteY5" fmla="*/ 1361493 h 1361493"/>
                <a:gd name="connsiteX6" fmla="*/ 226961 w 1945080"/>
                <a:gd name="connsiteY6" fmla="*/ 1361493 h 1361493"/>
                <a:gd name="connsiteX7" fmla="*/ 0 w 1945080"/>
                <a:gd name="connsiteY7" fmla="*/ 1134532 h 1361493"/>
                <a:gd name="connsiteX8" fmla="*/ 0 w 1945080"/>
                <a:gd name="connsiteY8" fmla="*/ 226961 h 136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080" h="1361493">
                  <a:moveTo>
                    <a:pt x="0" y="226961"/>
                  </a:moveTo>
                  <a:cubicBezTo>
                    <a:pt x="0" y="101614"/>
                    <a:pt x="101614" y="0"/>
                    <a:pt x="226961" y="0"/>
                  </a:cubicBezTo>
                  <a:lnTo>
                    <a:pt x="1718119" y="0"/>
                  </a:lnTo>
                  <a:cubicBezTo>
                    <a:pt x="1843466" y="0"/>
                    <a:pt x="1945080" y="101614"/>
                    <a:pt x="1945080" y="226961"/>
                  </a:cubicBezTo>
                  <a:lnTo>
                    <a:pt x="1945080" y="1134532"/>
                  </a:lnTo>
                  <a:cubicBezTo>
                    <a:pt x="1945080" y="1259879"/>
                    <a:pt x="1843466" y="1361493"/>
                    <a:pt x="1718119" y="1361493"/>
                  </a:cubicBezTo>
                  <a:lnTo>
                    <a:pt x="226961" y="1361493"/>
                  </a:lnTo>
                  <a:cubicBezTo>
                    <a:pt x="101614" y="1361493"/>
                    <a:pt x="0" y="1259879"/>
                    <a:pt x="0" y="1134532"/>
                  </a:cubicBezTo>
                  <a:lnTo>
                    <a:pt x="0" y="226961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295" tIns="150295" rIns="150295" bIns="150295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>
                  <a:latin typeface="Roboto"/>
                </a:rPr>
                <a:t>TEXT DETECTION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10896307" y="7501759"/>
              <a:ext cx="2651760" cy="731520"/>
            </a:xfrm>
            <a:custGeom>
              <a:avLst/>
              <a:gdLst>
                <a:gd name="connsiteX0" fmla="*/ 0 w 1945080"/>
                <a:gd name="connsiteY0" fmla="*/ 226961 h 1361493"/>
                <a:gd name="connsiteX1" fmla="*/ 226961 w 1945080"/>
                <a:gd name="connsiteY1" fmla="*/ 0 h 1361493"/>
                <a:gd name="connsiteX2" fmla="*/ 1718119 w 1945080"/>
                <a:gd name="connsiteY2" fmla="*/ 0 h 1361493"/>
                <a:gd name="connsiteX3" fmla="*/ 1945080 w 1945080"/>
                <a:gd name="connsiteY3" fmla="*/ 226961 h 1361493"/>
                <a:gd name="connsiteX4" fmla="*/ 1945080 w 1945080"/>
                <a:gd name="connsiteY4" fmla="*/ 1134532 h 1361493"/>
                <a:gd name="connsiteX5" fmla="*/ 1718119 w 1945080"/>
                <a:gd name="connsiteY5" fmla="*/ 1361493 h 1361493"/>
                <a:gd name="connsiteX6" fmla="*/ 226961 w 1945080"/>
                <a:gd name="connsiteY6" fmla="*/ 1361493 h 1361493"/>
                <a:gd name="connsiteX7" fmla="*/ 0 w 1945080"/>
                <a:gd name="connsiteY7" fmla="*/ 1134532 h 1361493"/>
                <a:gd name="connsiteX8" fmla="*/ 0 w 1945080"/>
                <a:gd name="connsiteY8" fmla="*/ 226961 h 136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080" h="1361493">
                  <a:moveTo>
                    <a:pt x="0" y="226961"/>
                  </a:moveTo>
                  <a:cubicBezTo>
                    <a:pt x="0" y="101614"/>
                    <a:pt x="101614" y="0"/>
                    <a:pt x="226961" y="0"/>
                  </a:cubicBezTo>
                  <a:lnTo>
                    <a:pt x="1718119" y="0"/>
                  </a:lnTo>
                  <a:cubicBezTo>
                    <a:pt x="1843466" y="0"/>
                    <a:pt x="1945080" y="101614"/>
                    <a:pt x="1945080" y="226961"/>
                  </a:cubicBezTo>
                  <a:lnTo>
                    <a:pt x="1945080" y="1134532"/>
                  </a:lnTo>
                  <a:cubicBezTo>
                    <a:pt x="1945080" y="1259879"/>
                    <a:pt x="1843466" y="1361493"/>
                    <a:pt x="1718119" y="1361493"/>
                  </a:cubicBezTo>
                  <a:lnTo>
                    <a:pt x="226961" y="1361493"/>
                  </a:lnTo>
                  <a:cubicBezTo>
                    <a:pt x="101614" y="1361493"/>
                    <a:pt x="0" y="1259879"/>
                    <a:pt x="0" y="1134532"/>
                  </a:cubicBezTo>
                  <a:lnTo>
                    <a:pt x="0" y="226961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2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295" tIns="150295" rIns="150295" bIns="150295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>
                  <a:latin typeface="Roboto"/>
                </a:rPr>
                <a:t>TEXT RECOGNITION</a:t>
              </a: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786" y="1465988"/>
            <a:ext cx="3839263" cy="2742331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44853" y="4729163"/>
            <a:ext cx="4636513" cy="258891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697" y="6434384"/>
            <a:ext cx="5129141" cy="34162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9425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>
              <a:latin typeface="Roboto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Roboto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Roboto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Roboto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>
              <a:latin typeface="Roboto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>
              <a:latin typeface="Roboto"/>
            </a:endParaRPr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Roboto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Roboto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829" y="1768450"/>
            <a:ext cx="14430375" cy="37028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A227591-B07E-5D46-B601-D1A14524E2BE}"/>
              </a:ext>
            </a:extLst>
          </p:cNvPr>
          <p:cNvSpPr/>
          <p:nvPr/>
        </p:nvSpPr>
        <p:spPr>
          <a:xfrm>
            <a:off x="2028828" y="6320324"/>
            <a:ext cx="1443037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US" sz="2800" b="1">
                <a:latin typeface="Roboto"/>
                <a:ea typeface="Roboto"/>
                <a:cs typeface="Roboto"/>
              </a:rPr>
              <a:t>Metadata </a:t>
            </a:r>
            <a:r>
              <a:rPr lang="en-US" sz="2800">
                <a:latin typeface="Roboto"/>
                <a:ea typeface="Roboto"/>
                <a:cs typeface="Roboto"/>
              </a:rPr>
              <a:t>sau khi trích xuất được lưu trữ vào hệ thống Bigdata, nguồn này sẽ được cung cấp cho tính năng tìm kiếm trên app MyTV thông qua hình thức API</a:t>
            </a:r>
          </a:p>
          <a:p>
            <a:pPr algn="just">
              <a:lnSpc>
                <a:spcPct val="150000"/>
              </a:lnSpc>
              <a:buClr>
                <a:schemeClr val="dk2"/>
              </a:buClr>
              <a:buSzPct val="100000"/>
            </a:pPr>
            <a:endParaRPr lang="en-US" sz="2800">
              <a:latin typeface="Roboto"/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60181886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Google Shape;363;p28"/>
          <p:cNvCxnSpPr/>
          <p:nvPr/>
        </p:nvCxnSpPr>
        <p:spPr>
          <a:xfrm flipV="1">
            <a:off x="1311163" y="2826764"/>
            <a:ext cx="64226" cy="5442593"/>
          </a:xfrm>
          <a:prstGeom prst="straightConnector1">
            <a:avLst/>
          </a:prstGeom>
          <a:solidFill>
            <a:srgbClr val="E6D2B9"/>
          </a:solidFill>
          <a:ln w="38100" cap="flat" cmpd="sng">
            <a:solidFill>
              <a:srgbClr val="93C47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. Phươ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ển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a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ực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n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98496" y="2403991"/>
            <a:ext cx="16930122" cy="886243"/>
            <a:chOff x="398496" y="2403991"/>
            <a:chExt cx="16930122" cy="886243"/>
          </a:xfrm>
        </p:grpSpPr>
        <p:grpSp>
          <p:nvGrpSpPr>
            <p:cNvPr id="2" name="Group 1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1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2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3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vi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cs typeface="Oswald"/>
                  <a:sym typeface="Oswald"/>
                </a:rPr>
                <a:t>1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30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vi" sz="27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Xây dựng thuyết minh nhiệm vụ KH&amp;CN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1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vi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 bộ thuyết minh dự án được duyệt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4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9</a:t>
              </a:r>
              <a:r>
                <a:rPr lang="vi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0</a:t>
              </a:r>
              <a:r>
                <a:rPr lang="vi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2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54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5" name="Google Shape;407;p28"/>
          <p:cNvSpPr txBox="1"/>
          <p:nvPr/>
        </p:nvSpPr>
        <p:spPr>
          <a:xfrm>
            <a:off x="1281514" y="1229019"/>
            <a:ext cx="5179709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rgbClr val="CC0000"/>
                </a:solidFill>
                <a:latin typeface="Roboto"/>
                <a:ea typeface="Roboto"/>
                <a:cs typeface="Roboto"/>
                <a:sym typeface="Roboto"/>
              </a:rPr>
              <a:t>Công việc</a:t>
            </a:r>
            <a:endParaRPr b="1" dirty="0">
              <a:solidFill>
                <a:srgbClr val="CC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" name="Google Shape;408;p28"/>
          <p:cNvSpPr txBox="1"/>
          <p:nvPr/>
        </p:nvSpPr>
        <p:spPr>
          <a:xfrm>
            <a:off x="7191772" y="1277767"/>
            <a:ext cx="5780115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Kết quả cần đạt</a:t>
            </a:r>
            <a:endParaRPr b="1" dirty="0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7" name="Google Shape;409;p28"/>
          <p:cNvSpPr txBox="1"/>
          <p:nvPr/>
        </p:nvSpPr>
        <p:spPr>
          <a:xfrm>
            <a:off x="13157200" y="1233162"/>
            <a:ext cx="4419600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rgbClr val="FF9900"/>
                </a:solidFill>
                <a:latin typeface="Roboto"/>
                <a:ea typeface="Roboto"/>
                <a:cs typeface="Roboto"/>
                <a:sym typeface="Roboto"/>
              </a:rPr>
              <a:t>Thời gian</a:t>
            </a:r>
            <a:endParaRPr b="1" dirty="0">
              <a:solidFill>
                <a:srgbClr val="FF99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3" name="Google Shape;375;p28"/>
          <p:cNvSpPr txBox="1"/>
          <p:nvPr/>
        </p:nvSpPr>
        <p:spPr>
          <a:xfrm>
            <a:off x="383236" y="8516745"/>
            <a:ext cx="7329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625" tIns="45325" rIns="90625" bIns="4532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2600" b="1" dirty="0">
              <a:solidFill>
                <a:srgbClr val="CC0000"/>
              </a:solidFill>
              <a:latin typeface="Oswald"/>
              <a:sym typeface="Oswald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384506" y="3620462"/>
            <a:ext cx="16930122" cy="886243"/>
            <a:chOff x="398496" y="2403991"/>
            <a:chExt cx="16930122" cy="886243"/>
          </a:xfrm>
        </p:grpSpPr>
        <p:grpSp>
          <p:nvGrpSpPr>
            <p:cNvPr id="72" name="Group 71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96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97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77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2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89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en-US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hảo sát dịch vụ MyTV và các nguồn dữ liệu video hiện có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92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tổng hợp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93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0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1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94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95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365456" y="5065998"/>
            <a:ext cx="16930122" cy="886243"/>
            <a:chOff x="398496" y="2403991"/>
            <a:chExt cx="16930122" cy="886243"/>
          </a:xfrm>
        </p:grpSpPr>
        <p:grpSp>
          <p:nvGrpSpPr>
            <p:cNvPr id="99" name="Group 98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06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07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00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3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01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xu hướng công nghệ, tầm quan trọng và lợi ích trích xuất siêu dữ liệu từ video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2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tổng hợp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3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1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2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4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05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356586" y="7102549"/>
            <a:ext cx="16930122" cy="886243"/>
            <a:chOff x="398496" y="2403991"/>
            <a:chExt cx="16930122" cy="886243"/>
          </a:xfrm>
        </p:grpSpPr>
        <p:grpSp>
          <p:nvGrpSpPr>
            <p:cNvPr id="109" name="Group 108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16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17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10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4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11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ứng dụng, thuật toán Machine Learning và Trí tuệ nhân tạo (Artificial Intelligence) trong việc trích xuất siêu dữ liệu từ video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12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5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tổng hợp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13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22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14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15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708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Google Shape;363;p28"/>
          <p:cNvCxnSpPr/>
          <p:nvPr/>
        </p:nvCxnSpPr>
        <p:spPr>
          <a:xfrm flipV="1">
            <a:off x="1311163" y="2442688"/>
            <a:ext cx="64226" cy="5839922"/>
          </a:xfrm>
          <a:prstGeom prst="straightConnector1">
            <a:avLst/>
          </a:prstGeom>
          <a:solidFill>
            <a:srgbClr val="E6D2B9"/>
          </a:solidFill>
          <a:ln w="38100" cap="flat" cmpd="sng">
            <a:solidFill>
              <a:srgbClr val="93C47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. Phươ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ển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ha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ực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n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Google Shape;407;p28"/>
          <p:cNvSpPr txBox="1"/>
          <p:nvPr/>
        </p:nvSpPr>
        <p:spPr>
          <a:xfrm>
            <a:off x="1281514" y="1229019"/>
            <a:ext cx="5179709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rgbClr val="CC0000"/>
                </a:solidFill>
                <a:latin typeface="Roboto"/>
                <a:ea typeface="Roboto"/>
                <a:cs typeface="Roboto"/>
                <a:sym typeface="Roboto"/>
              </a:rPr>
              <a:t>Công việc</a:t>
            </a:r>
            <a:endParaRPr b="1" dirty="0">
              <a:solidFill>
                <a:srgbClr val="CC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" name="Google Shape;408;p28"/>
          <p:cNvSpPr txBox="1"/>
          <p:nvPr/>
        </p:nvSpPr>
        <p:spPr>
          <a:xfrm>
            <a:off x="7191772" y="1277767"/>
            <a:ext cx="5780115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Kết quả cần đạt</a:t>
            </a:r>
            <a:endParaRPr b="1" dirty="0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7" name="Google Shape;409;p28"/>
          <p:cNvSpPr txBox="1"/>
          <p:nvPr/>
        </p:nvSpPr>
        <p:spPr>
          <a:xfrm>
            <a:off x="13157200" y="1233162"/>
            <a:ext cx="4419600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vi" b="1" dirty="0">
                <a:solidFill>
                  <a:srgbClr val="FF9900"/>
                </a:solidFill>
                <a:latin typeface="Roboto"/>
                <a:ea typeface="Roboto"/>
                <a:cs typeface="Roboto"/>
                <a:sym typeface="Roboto"/>
              </a:rPr>
              <a:t>Thời gian</a:t>
            </a:r>
            <a:endParaRPr b="1" dirty="0">
              <a:solidFill>
                <a:srgbClr val="FF99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3" name="Google Shape;375;p28"/>
          <p:cNvSpPr txBox="1"/>
          <p:nvPr/>
        </p:nvSpPr>
        <p:spPr>
          <a:xfrm>
            <a:off x="383236" y="8516745"/>
            <a:ext cx="7329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625" tIns="45325" rIns="90625" bIns="4532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2600" b="1" dirty="0">
              <a:solidFill>
                <a:srgbClr val="CC0000"/>
              </a:solidFill>
              <a:latin typeface="Oswald"/>
              <a:sym typeface="Oswald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395936" y="2442688"/>
            <a:ext cx="16930122" cy="886243"/>
            <a:chOff x="398496" y="2403991"/>
            <a:chExt cx="16930122" cy="886243"/>
          </a:xfrm>
        </p:grpSpPr>
        <p:grpSp>
          <p:nvGrpSpPr>
            <p:cNvPr id="99" name="Group 98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06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07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00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5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01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lựa chọn công nghệ tối ưu cho mô hình trích xuất siêu dữ liệu từ video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2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tổng hợp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3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2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04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05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86923" y="3881812"/>
            <a:ext cx="16930122" cy="886243"/>
            <a:chOff x="373711" y="4259223"/>
            <a:chExt cx="16930122" cy="886243"/>
          </a:xfrm>
        </p:grpSpPr>
        <p:grpSp>
          <p:nvGrpSpPr>
            <p:cNvPr id="53" name="Group 52"/>
            <p:cNvGrpSpPr/>
            <p:nvPr/>
          </p:nvGrpSpPr>
          <p:grpSpPr>
            <a:xfrm>
              <a:off x="373711" y="4259223"/>
              <a:ext cx="16930122" cy="886243"/>
              <a:chOff x="398496" y="2403991"/>
              <a:chExt cx="16930122" cy="886243"/>
            </a:xfrm>
          </p:grpSpPr>
          <p:grpSp>
            <p:nvGrpSpPr>
              <p:cNvPr id="58" name="Group 57"/>
              <p:cNvGrpSpPr/>
              <p:nvPr/>
            </p:nvGrpSpPr>
            <p:grpSpPr>
              <a:xfrm>
                <a:off x="1166010" y="2618938"/>
                <a:ext cx="411274" cy="456349"/>
                <a:chOff x="769941" y="1991485"/>
                <a:chExt cx="411274" cy="456349"/>
              </a:xfrm>
            </p:grpSpPr>
            <p:sp>
              <p:nvSpPr>
                <p:cNvPr id="66" name="Google Shape;366;p28"/>
                <p:cNvSpPr/>
                <p:nvPr/>
              </p:nvSpPr>
              <p:spPr>
                <a:xfrm>
                  <a:off x="843383" y="2072976"/>
                  <a:ext cx="264390" cy="293367"/>
                </a:xfrm>
                <a:prstGeom prst="ellipse">
                  <a:avLst/>
                </a:prstGeom>
                <a:solidFill>
                  <a:srgbClr val="595959"/>
                </a:solidFill>
                <a:ln w="9525" cap="flat" cmpd="sng">
                  <a:solidFill>
                    <a:srgbClr val="93C47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7F7F7F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67" name="Google Shape;364;p28"/>
                <p:cNvSpPr/>
                <p:nvPr/>
              </p:nvSpPr>
              <p:spPr>
                <a:xfrm>
                  <a:off x="769941" y="1991485"/>
                  <a:ext cx="411274" cy="456349"/>
                </a:xfrm>
                <a:prstGeom prst="ellipse">
                  <a:avLst/>
                </a:prstGeom>
                <a:noFill/>
                <a:ln w="28575" cap="flat" cmpd="sng">
                  <a:solidFill>
                    <a:srgbClr val="93C47D">
                      <a:alpha val="49800"/>
                    </a:srgb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7F7F7F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sp>
            <p:nvSpPr>
              <p:cNvPr id="59" name="Google Shape;367;p28"/>
              <p:cNvSpPr txBox="1"/>
              <p:nvPr/>
            </p:nvSpPr>
            <p:spPr>
              <a:xfrm>
                <a:off x="398496" y="2685562"/>
                <a:ext cx="732900" cy="323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625" tIns="45325" rIns="90625" bIns="4532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2800" b="1" dirty="0">
                    <a:solidFill>
                      <a:srgbClr val="CC0000"/>
                    </a:solidFill>
                    <a:latin typeface="Roboto" panose="020B0604020202020204" charset="0"/>
                    <a:ea typeface="Roboto" panose="020B0604020202020204" charset="0"/>
                    <a:sym typeface="Oswald"/>
                  </a:rPr>
                  <a:t>6</a:t>
                </a:r>
                <a:endParaRPr sz="2800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</a:endParaRPr>
              </a:p>
            </p:txBody>
          </p:sp>
          <p:sp>
            <p:nvSpPr>
              <p:cNvPr id="60" name="Google Shape;384;p28"/>
              <p:cNvSpPr/>
              <p:nvPr/>
            </p:nvSpPr>
            <p:spPr>
              <a:xfrm>
                <a:off x="1692893" y="2466411"/>
                <a:ext cx="5473453" cy="7614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625" tIns="45325" rIns="90625" bIns="45325" anchor="ctr" anchorCtr="0">
                <a:noAutofit/>
              </a:bodyPr>
              <a:lstStyle/>
              <a:p>
                <a:pPr lvl="0"/>
                <a:r>
                  <a:rPr lang="vi-VN" sz="27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Thiết kế hệ thống nhận dạng và trích xuất siêu dữ liệu</a:t>
                </a:r>
                <a:endParaRPr sz="27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61" name="Google Shape;393;p28"/>
              <p:cNvSpPr/>
              <p:nvPr/>
            </p:nvSpPr>
            <p:spPr>
              <a:xfrm>
                <a:off x="8175081" y="2403991"/>
                <a:ext cx="4812096" cy="88624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625" tIns="45325" rIns="90625" bIns="45325" anchor="ctr" anchorCtr="0">
                <a:noAutofit/>
              </a:bodyPr>
              <a:lstStyle/>
              <a:p>
                <a:pPr lvl="0"/>
                <a:r>
                  <a:rPr lang="vi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0</a:t>
                </a:r>
                <a:r>
                  <a:rPr lang="en-US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3</a:t>
                </a:r>
                <a:r>
                  <a:rPr lang="vi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 </a:t>
                </a:r>
                <a:r>
                  <a:rPr lang="en-US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module phần mềm</a:t>
                </a:r>
                <a:endParaRPr lang="en-US"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62" name="Google Shape;396;p28"/>
              <p:cNvSpPr/>
              <p:nvPr/>
            </p:nvSpPr>
            <p:spPr>
              <a:xfrm>
                <a:off x="14284925" y="2652475"/>
                <a:ext cx="3043693" cy="3892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0625" tIns="45325" rIns="90625" bIns="4532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02</a:t>
                </a:r>
                <a:r>
                  <a:rPr lang="vi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/2021-</a:t>
                </a:r>
                <a:r>
                  <a:rPr lang="en-US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03</a:t>
                </a:r>
                <a:r>
                  <a:rPr lang="vi" sz="2600">
                    <a:solidFill>
                      <a:srgbClr val="666666"/>
                    </a:solidFill>
                    <a:latin typeface="Roboto"/>
                    <a:ea typeface="Roboto"/>
                    <a:cs typeface="Roboto"/>
                    <a:sym typeface="Roboto"/>
                  </a:rPr>
                  <a:t>/2021</a:t>
                </a:r>
                <a:endParaRPr sz="26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65" name="Google Shape;406;p28"/>
              <p:cNvSpPr/>
              <p:nvPr/>
            </p:nvSpPr>
            <p:spPr>
              <a:xfrm>
                <a:off x="13431163" y="2663375"/>
                <a:ext cx="445447" cy="367475"/>
              </a:xfrm>
              <a:custGeom>
                <a:avLst/>
                <a:gdLst/>
                <a:ahLst/>
                <a:cxnLst/>
                <a:rect l="l" t="t" r="r" b="b"/>
                <a:pathLst>
                  <a:path w="1335447" h="1382867" extrusionOk="0">
                    <a:moveTo>
                      <a:pt x="640598" y="1220867"/>
                    </a:moveTo>
                    <a:cubicBezTo>
                      <a:pt x="685333" y="1220867"/>
                      <a:pt x="721598" y="1257132"/>
                      <a:pt x="721598" y="1301867"/>
                    </a:cubicBezTo>
                    <a:cubicBezTo>
                      <a:pt x="721598" y="1346602"/>
                      <a:pt x="685333" y="1382867"/>
                      <a:pt x="640598" y="1382867"/>
                    </a:cubicBezTo>
                    <a:cubicBezTo>
                      <a:pt x="595863" y="1382867"/>
                      <a:pt x="559598" y="1346602"/>
                      <a:pt x="559598" y="1301867"/>
                    </a:cubicBezTo>
                    <a:cubicBezTo>
                      <a:pt x="559598" y="1257132"/>
                      <a:pt x="595863" y="1220867"/>
                      <a:pt x="640598" y="1220867"/>
                    </a:cubicBezTo>
                    <a:close/>
                    <a:moveTo>
                      <a:pt x="348228" y="1154153"/>
                    </a:moveTo>
                    <a:cubicBezTo>
                      <a:pt x="387993" y="1154153"/>
                      <a:pt x="420228" y="1186388"/>
                      <a:pt x="420228" y="1226153"/>
                    </a:cubicBezTo>
                    <a:cubicBezTo>
                      <a:pt x="420228" y="1265918"/>
                      <a:pt x="387993" y="1298153"/>
                      <a:pt x="348228" y="1298153"/>
                    </a:cubicBezTo>
                    <a:cubicBezTo>
                      <a:pt x="308463" y="1298153"/>
                      <a:pt x="276228" y="1265918"/>
                      <a:pt x="276228" y="1226153"/>
                    </a:cubicBezTo>
                    <a:cubicBezTo>
                      <a:pt x="276228" y="1186388"/>
                      <a:pt x="308463" y="1154153"/>
                      <a:pt x="348228" y="1154153"/>
                    </a:cubicBezTo>
                    <a:close/>
                    <a:moveTo>
                      <a:pt x="933808" y="1136201"/>
                    </a:moveTo>
                    <a:cubicBezTo>
                      <a:pt x="983514" y="1136201"/>
                      <a:pt x="1023808" y="1176495"/>
                      <a:pt x="1023808" y="1226201"/>
                    </a:cubicBezTo>
                    <a:cubicBezTo>
                      <a:pt x="1023808" y="1275907"/>
                      <a:pt x="983514" y="1316201"/>
                      <a:pt x="933808" y="1316201"/>
                    </a:cubicBezTo>
                    <a:cubicBezTo>
                      <a:pt x="884102" y="1316201"/>
                      <a:pt x="843808" y="1275907"/>
                      <a:pt x="843808" y="1226201"/>
                    </a:cubicBezTo>
                    <a:cubicBezTo>
                      <a:pt x="843808" y="1176495"/>
                      <a:pt x="884102" y="1136201"/>
                      <a:pt x="933808" y="1136201"/>
                    </a:cubicBezTo>
                    <a:close/>
                    <a:moveTo>
                      <a:pt x="134439" y="948538"/>
                    </a:moveTo>
                    <a:cubicBezTo>
                      <a:pt x="169233" y="948538"/>
                      <a:pt x="197439" y="976744"/>
                      <a:pt x="197439" y="1011538"/>
                    </a:cubicBezTo>
                    <a:cubicBezTo>
                      <a:pt x="197439" y="1046332"/>
                      <a:pt x="169233" y="1074538"/>
                      <a:pt x="134439" y="1074538"/>
                    </a:cubicBezTo>
                    <a:cubicBezTo>
                      <a:pt x="99645" y="1074538"/>
                      <a:pt x="71439" y="1046332"/>
                      <a:pt x="71439" y="1011538"/>
                    </a:cubicBezTo>
                    <a:cubicBezTo>
                      <a:pt x="71439" y="976744"/>
                      <a:pt x="99645" y="948538"/>
                      <a:pt x="134439" y="948538"/>
                    </a:cubicBezTo>
                    <a:close/>
                    <a:moveTo>
                      <a:pt x="1149013" y="912014"/>
                    </a:moveTo>
                    <a:cubicBezTo>
                      <a:pt x="1203689" y="912014"/>
                      <a:pt x="1248013" y="956338"/>
                      <a:pt x="1248013" y="1011014"/>
                    </a:cubicBezTo>
                    <a:cubicBezTo>
                      <a:pt x="1248013" y="1065690"/>
                      <a:pt x="1203689" y="1110014"/>
                      <a:pt x="1149013" y="1110014"/>
                    </a:cubicBezTo>
                    <a:cubicBezTo>
                      <a:pt x="1094337" y="1110014"/>
                      <a:pt x="1050013" y="1065690"/>
                      <a:pt x="1050013" y="1011014"/>
                    </a:cubicBezTo>
                    <a:cubicBezTo>
                      <a:pt x="1050013" y="956338"/>
                      <a:pt x="1094337" y="912014"/>
                      <a:pt x="1149013" y="912014"/>
                    </a:cubicBezTo>
                    <a:close/>
                    <a:moveTo>
                      <a:pt x="54000" y="666501"/>
                    </a:moveTo>
                    <a:cubicBezTo>
                      <a:pt x="83823" y="666501"/>
                      <a:pt x="108000" y="690678"/>
                      <a:pt x="108000" y="720501"/>
                    </a:cubicBezTo>
                    <a:cubicBezTo>
                      <a:pt x="108000" y="750324"/>
                      <a:pt x="83823" y="774501"/>
                      <a:pt x="54000" y="774501"/>
                    </a:cubicBezTo>
                    <a:cubicBezTo>
                      <a:pt x="24177" y="774501"/>
                      <a:pt x="0" y="750324"/>
                      <a:pt x="0" y="720501"/>
                    </a:cubicBezTo>
                    <a:cubicBezTo>
                      <a:pt x="0" y="690678"/>
                      <a:pt x="24177" y="666501"/>
                      <a:pt x="54000" y="666501"/>
                    </a:cubicBezTo>
                    <a:close/>
                    <a:moveTo>
                      <a:pt x="1227447" y="611977"/>
                    </a:moveTo>
                    <a:cubicBezTo>
                      <a:pt x="1287094" y="611977"/>
                      <a:pt x="1335447" y="660330"/>
                      <a:pt x="1335447" y="719977"/>
                    </a:cubicBezTo>
                    <a:cubicBezTo>
                      <a:pt x="1335447" y="779624"/>
                      <a:pt x="1287094" y="827977"/>
                      <a:pt x="1227447" y="827977"/>
                    </a:cubicBezTo>
                    <a:cubicBezTo>
                      <a:pt x="1167800" y="827977"/>
                      <a:pt x="1119447" y="779624"/>
                      <a:pt x="1119447" y="719977"/>
                    </a:cubicBezTo>
                    <a:cubicBezTo>
                      <a:pt x="1119447" y="660330"/>
                      <a:pt x="1167800" y="611977"/>
                      <a:pt x="1227447" y="611977"/>
                    </a:cubicBezTo>
                    <a:close/>
                    <a:moveTo>
                      <a:pt x="132582" y="382083"/>
                    </a:moveTo>
                    <a:cubicBezTo>
                      <a:pt x="157435" y="382083"/>
                      <a:pt x="177582" y="402230"/>
                      <a:pt x="177582" y="427083"/>
                    </a:cubicBezTo>
                    <a:cubicBezTo>
                      <a:pt x="177582" y="451936"/>
                      <a:pt x="157435" y="472083"/>
                      <a:pt x="132582" y="472083"/>
                    </a:cubicBezTo>
                    <a:cubicBezTo>
                      <a:pt x="107729" y="472083"/>
                      <a:pt x="87582" y="451936"/>
                      <a:pt x="87582" y="427083"/>
                    </a:cubicBezTo>
                    <a:cubicBezTo>
                      <a:pt x="87582" y="402230"/>
                      <a:pt x="107729" y="382083"/>
                      <a:pt x="132582" y="382083"/>
                    </a:cubicBezTo>
                    <a:close/>
                    <a:moveTo>
                      <a:pt x="591253" y="363035"/>
                    </a:moveTo>
                    <a:lnTo>
                      <a:pt x="684900" y="363035"/>
                    </a:lnTo>
                    <a:lnTo>
                      <a:pt x="684900" y="742492"/>
                    </a:lnTo>
                    <a:lnTo>
                      <a:pt x="685866" y="744231"/>
                    </a:lnTo>
                    <a:lnTo>
                      <a:pt x="335761" y="938683"/>
                    </a:lnTo>
                    <a:lnTo>
                      <a:pt x="290291" y="856816"/>
                    </a:lnTo>
                    <a:lnTo>
                      <a:pt x="591253" y="689658"/>
                    </a:lnTo>
                    <a:close/>
                    <a:moveTo>
                      <a:pt x="1148342" y="311940"/>
                    </a:moveTo>
                    <a:cubicBezTo>
                      <a:pt x="1212959" y="311940"/>
                      <a:pt x="1265342" y="364323"/>
                      <a:pt x="1265342" y="428940"/>
                    </a:cubicBezTo>
                    <a:cubicBezTo>
                      <a:pt x="1265342" y="493557"/>
                      <a:pt x="1212959" y="545940"/>
                      <a:pt x="1148342" y="545940"/>
                    </a:cubicBezTo>
                    <a:cubicBezTo>
                      <a:pt x="1083725" y="545940"/>
                      <a:pt x="1031342" y="493557"/>
                      <a:pt x="1031342" y="428940"/>
                    </a:cubicBezTo>
                    <a:cubicBezTo>
                      <a:pt x="1031342" y="364323"/>
                      <a:pt x="1083725" y="311940"/>
                      <a:pt x="1148342" y="311940"/>
                    </a:cubicBezTo>
                    <a:close/>
                    <a:moveTo>
                      <a:pt x="346371" y="178629"/>
                    </a:moveTo>
                    <a:cubicBezTo>
                      <a:pt x="366253" y="178629"/>
                      <a:pt x="382371" y="194747"/>
                      <a:pt x="382371" y="214629"/>
                    </a:cubicBezTo>
                    <a:cubicBezTo>
                      <a:pt x="382371" y="234511"/>
                      <a:pt x="366253" y="250629"/>
                      <a:pt x="346371" y="250629"/>
                    </a:cubicBezTo>
                    <a:cubicBezTo>
                      <a:pt x="326489" y="250629"/>
                      <a:pt x="310371" y="234511"/>
                      <a:pt x="310371" y="214629"/>
                    </a:cubicBezTo>
                    <a:cubicBezTo>
                      <a:pt x="310371" y="194747"/>
                      <a:pt x="326489" y="178629"/>
                      <a:pt x="346371" y="178629"/>
                    </a:cubicBezTo>
                    <a:close/>
                    <a:moveTo>
                      <a:pt x="935141" y="88105"/>
                    </a:moveTo>
                    <a:cubicBezTo>
                      <a:pt x="1004729" y="88105"/>
                      <a:pt x="1061141" y="144517"/>
                      <a:pt x="1061141" y="214105"/>
                    </a:cubicBezTo>
                    <a:cubicBezTo>
                      <a:pt x="1061141" y="283693"/>
                      <a:pt x="1004729" y="340105"/>
                      <a:pt x="935141" y="340105"/>
                    </a:cubicBezTo>
                    <a:cubicBezTo>
                      <a:pt x="865553" y="340105"/>
                      <a:pt x="809141" y="283693"/>
                      <a:pt x="809141" y="214105"/>
                    </a:cubicBezTo>
                    <a:cubicBezTo>
                      <a:pt x="809141" y="144517"/>
                      <a:pt x="865553" y="88105"/>
                      <a:pt x="935141" y="88105"/>
                    </a:cubicBezTo>
                    <a:close/>
                    <a:moveTo>
                      <a:pt x="640074" y="0"/>
                    </a:moveTo>
                    <a:cubicBezTo>
                      <a:pt x="714632" y="0"/>
                      <a:pt x="775074" y="60442"/>
                      <a:pt x="775074" y="135000"/>
                    </a:cubicBezTo>
                    <a:cubicBezTo>
                      <a:pt x="775074" y="209558"/>
                      <a:pt x="714632" y="270000"/>
                      <a:pt x="640074" y="270000"/>
                    </a:cubicBezTo>
                    <a:cubicBezTo>
                      <a:pt x="565516" y="270000"/>
                      <a:pt x="505074" y="209558"/>
                      <a:pt x="505074" y="135000"/>
                    </a:cubicBezTo>
                    <a:cubicBezTo>
                      <a:pt x="505074" y="60442"/>
                      <a:pt x="565516" y="0"/>
                      <a:pt x="640074" y="0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68425" tIns="34200" rIns="68425" bIns="342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3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68" name="Google Shape;400;p28"/>
            <p:cNvSpPr/>
            <p:nvPr/>
          </p:nvSpPr>
          <p:spPr>
            <a:xfrm>
              <a:off x="7655478" y="4544887"/>
              <a:ext cx="376975" cy="352095"/>
            </a:xfrm>
            <a:custGeom>
              <a:avLst/>
              <a:gdLst/>
              <a:ahLst/>
              <a:cxnLst/>
              <a:rect l="l" t="t" r="r" b="b"/>
              <a:pathLst>
                <a:path w="477537" h="395827" extrusionOk="0">
                  <a:moveTo>
                    <a:pt x="120176" y="332574"/>
                  </a:moveTo>
                  <a:lnTo>
                    <a:pt x="120176" y="346963"/>
                  </a:lnTo>
                  <a:lnTo>
                    <a:pt x="200820" y="346963"/>
                  </a:lnTo>
                  <a:lnTo>
                    <a:pt x="200820" y="332574"/>
                  </a:lnTo>
                  <a:close/>
                  <a:moveTo>
                    <a:pt x="69138" y="32409"/>
                  </a:moveTo>
                  <a:cubicBezTo>
                    <a:pt x="49294" y="32409"/>
                    <a:pt x="33208" y="48495"/>
                    <a:pt x="33208" y="68339"/>
                  </a:cubicBezTo>
                  <a:lnTo>
                    <a:pt x="33208" y="212056"/>
                  </a:lnTo>
                  <a:cubicBezTo>
                    <a:pt x="33208" y="231900"/>
                    <a:pt x="49294" y="247986"/>
                    <a:pt x="69138" y="247986"/>
                  </a:cubicBezTo>
                  <a:lnTo>
                    <a:pt x="406821" y="247986"/>
                  </a:lnTo>
                  <a:cubicBezTo>
                    <a:pt x="426665" y="247986"/>
                    <a:pt x="442751" y="231900"/>
                    <a:pt x="442751" y="212056"/>
                  </a:cubicBezTo>
                  <a:lnTo>
                    <a:pt x="442751" y="68339"/>
                  </a:lnTo>
                  <a:cubicBezTo>
                    <a:pt x="442751" y="48495"/>
                    <a:pt x="426665" y="32409"/>
                    <a:pt x="406821" y="32409"/>
                  </a:cubicBezTo>
                  <a:close/>
                  <a:moveTo>
                    <a:pt x="46734" y="0"/>
                  </a:moveTo>
                  <a:lnTo>
                    <a:pt x="430804" y="0"/>
                  </a:lnTo>
                  <a:cubicBezTo>
                    <a:pt x="456614" y="0"/>
                    <a:pt x="477537" y="20924"/>
                    <a:pt x="477537" y="46734"/>
                  </a:cubicBezTo>
                  <a:lnTo>
                    <a:pt x="477537" y="233662"/>
                  </a:lnTo>
                  <a:cubicBezTo>
                    <a:pt x="477537" y="259472"/>
                    <a:pt x="456614" y="280396"/>
                    <a:pt x="430804" y="280396"/>
                  </a:cubicBezTo>
                  <a:lnTo>
                    <a:pt x="287788" y="280396"/>
                  </a:lnTo>
                  <a:lnTo>
                    <a:pt x="287788" y="311224"/>
                  </a:lnTo>
                  <a:lnTo>
                    <a:pt x="354593" y="311224"/>
                  </a:lnTo>
                  <a:cubicBezTo>
                    <a:pt x="377955" y="311224"/>
                    <a:pt x="396894" y="330163"/>
                    <a:pt x="396894" y="353525"/>
                  </a:cubicBezTo>
                  <a:cubicBezTo>
                    <a:pt x="396894" y="376888"/>
                    <a:pt x="377955" y="395827"/>
                    <a:pt x="354592" y="395827"/>
                  </a:cubicBezTo>
                  <a:lnTo>
                    <a:pt x="129271" y="395827"/>
                  </a:lnTo>
                  <a:cubicBezTo>
                    <a:pt x="111749" y="395827"/>
                    <a:pt x="96715" y="385174"/>
                    <a:pt x="90294" y="369991"/>
                  </a:cubicBezTo>
                  <a:lnTo>
                    <a:pt x="86969" y="353525"/>
                  </a:lnTo>
                  <a:lnTo>
                    <a:pt x="90294" y="337060"/>
                  </a:lnTo>
                  <a:cubicBezTo>
                    <a:pt x="96715" y="321877"/>
                    <a:pt x="111749" y="311224"/>
                    <a:pt x="129271" y="311224"/>
                  </a:cubicBezTo>
                  <a:lnTo>
                    <a:pt x="196075" y="311224"/>
                  </a:lnTo>
                  <a:lnTo>
                    <a:pt x="196075" y="280396"/>
                  </a:lnTo>
                  <a:lnTo>
                    <a:pt x="46734" y="280396"/>
                  </a:lnTo>
                  <a:cubicBezTo>
                    <a:pt x="20924" y="280396"/>
                    <a:pt x="0" y="259472"/>
                    <a:pt x="0" y="233662"/>
                  </a:cubicBezTo>
                  <a:lnTo>
                    <a:pt x="0" y="46734"/>
                  </a:lnTo>
                  <a:cubicBezTo>
                    <a:pt x="0" y="20924"/>
                    <a:pt x="20924" y="0"/>
                    <a:pt x="4673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362158" y="5134790"/>
            <a:ext cx="16930122" cy="886243"/>
            <a:chOff x="398496" y="2403991"/>
            <a:chExt cx="16930122" cy="886243"/>
          </a:xfrm>
        </p:grpSpPr>
        <p:grpSp>
          <p:nvGrpSpPr>
            <p:cNvPr id="120" name="Group 119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27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28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21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7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22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ử nghiệm hệ thống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23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7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tổng hợp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24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3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4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25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26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58471" y="6346638"/>
            <a:ext cx="16930122" cy="886243"/>
            <a:chOff x="398496" y="2403991"/>
            <a:chExt cx="16930122" cy="886243"/>
          </a:xfrm>
        </p:grpSpPr>
        <p:grpSp>
          <p:nvGrpSpPr>
            <p:cNvPr id="130" name="Group 129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37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38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31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8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32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Xây dựng tài liệu sản phẩm cho hệ thống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33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ộ tài liệu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34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4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5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35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36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339298" y="7814563"/>
            <a:ext cx="16930122" cy="886243"/>
            <a:chOff x="398496" y="2403991"/>
            <a:chExt cx="16930122" cy="886243"/>
          </a:xfrm>
        </p:grpSpPr>
        <p:grpSp>
          <p:nvGrpSpPr>
            <p:cNvPr id="140" name="Group 139"/>
            <p:cNvGrpSpPr/>
            <p:nvPr/>
          </p:nvGrpSpPr>
          <p:grpSpPr>
            <a:xfrm>
              <a:off x="1166010" y="2618938"/>
              <a:ext cx="411274" cy="456349"/>
              <a:chOff x="769941" y="1991485"/>
              <a:chExt cx="411274" cy="456349"/>
            </a:xfrm>
          </p:grpSpPr>
          <p:sp>
            <p:nvSpPr>
              <p:cNvPr id="147" name="Google Shape;366;p28"/>
              <p:cNvSpPr/>
              <p:nvPr/>
            </p:nvSpPr>
            <p:spPr>
              <a:xfrm>
                <a:off x="843383" y="2072976"/>
                <a:ext cx="264390" cy="293367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48" name="Google Shape;364;p28"/>
              <p:cNvSpPr/>
              <p:nvPr/>
            </p:nvSpPr>
            <p:spPr>
              <a:xfrm>
                <a:off x="769941" y="1991485"/>
                <a:ext cx="411274" cy="456349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41" name="Google Shape;367;p28"/>
            <p:cNvSpPr txBox="1"/>
            <p:nvPr/>
          </p:nvSpPr>
          <p:spPr>
            <a:xfrm>
              <a:off x="398496" y="2685562"/>
              <a:ext cx="7329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800" b="1" dirty="0">
                  <a:solidFill>
                    <a:srgbClr val="CC0000"/>
                  </a:solidFill>
                  <a:latin typeface="Roboto" panose="020B0604020202020204" charset="0"/>
                  <a:ea typeface="Roboto" panose="020B0604020202020204" charset="0"/>
                  <a:sym typeface="Oswald"/>
                </a:rPr>
                <a:t>9</a:t>
              </a:r>
              <a:endParaRPr sz="2800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142" name="Google Shape;384;p28"/>
            <p:cNvSpPr/>
            <p:nvPr/>
          </p:nvSpPr>
          <p:spPr>
            <a:xfrm>
              <a:off x="1692893" y="2466411"/>
              <a:ext cx="5473453" cy="761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/>
              <a:r>
                <a:rPr lang="vi-VN" sz="27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Báo cáo kết quả thực hiện</a:t>
              </a:r>
              <a:endParaRPr sz="27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43" name="Google Shape;393;p28"/>
            <p:cNvSpPr/>
            <p:nvPr/>
          </p:nvSpPr>
          <p:spPr>
            <a:xfrm>
              <a:off x="8175081" y="2403991"/>
              <a:ext cx="4812096" cy="8862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lv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</a:pP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 báo cáo tổng hợp, 01 báo cáo tóm tắt</a:t>
              </a:r>
              <a:endParaRPr lang="en-US"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44" name="Google Shape;396;p28"/>
            <p:cNvSpPr/>
            <p:nvPr/>
          </p:nvSpPr>
          <p:spPr>
            <a:xfrm>
              <a:off x="14284925" y="2652475"/>
              <a:ext cx="3043693" cy="3892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4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-</a:t>
              </a: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5</a:t>
              </a:r>
              <a:r>
                <a:rPr lang="vi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/2021</a:t>
              </a:r>
              <a:endParaRPr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45" name="Google Shape;404;p28"/>
            <p:cNvSpPr/>
            <p:nvPr/>
          </p:nvSpPr>
          <p:spPr>
            <a:xfrm>
              <a:off x="7640852" y="2656875"/>
              <a:ext cx="376975" cy="380475"/>
            </a:xfrm>
            <a:custGeom>
              <a:avLst/>
              <a:gdLst/>
              <a:ahLst/>
              <a:cxnLst/>
              <a:rect l="l" t="t" r="r" b="b"/>
              <a:pathLst>
                <a:path w="3079191" h="2981367" extrusionOk="0">
                  <a:moveTo>
                    <a:pt x="3022796" y="2688618"/>
                  </a:moveTo>
                  <a:lnTo>
                    <a:pt x="3066647" y="2759061"/>
                  </a:lnTo>
                  <a:cubicBezTo>
                    <a:pt x="3090865" y="2797966"/>
                    <a:pt x="3078959" y="2849138"/>
                    <a:pt x="3040055" y="2873357"/>
                  </a:cubicBezTo>
                  <a:lnTo>
                    <a:pt x="2886697" y="2968823"/>
                  </a:lnTo>
                  <a:cubicBezTo>
                    <a:pt x="2847792" y="2993041"/>
                    <a:pt x="2796620" y="2981135"/>
                    <a:pt x="2772401" y="2942230"/>
                  </a:cubicBezTo>
                  <a:cubicBezTo>
                    <a:pt x="2757784" y="2918749"/>
                    <a:pt x="2743168" y="2895268"/>
                    <a:pt x="2728551" y="2871787"/>
                  </a:cubicBezTo>
                  <a:close/>
                  <a:moveTo>
                    <a:pt x="2756797" y="2236341"/>
                  </a:moveTo>
                  <a:lnTo>
                    <a:pt x="2994773" y="2633448"/>
                  </a:lnTo>
                  <a:lnTo>
                    <a:pt x="2699388" y="2810465"/>
                  </a:lnTo>
                  <a:lnTo>
                    <a:pt x="2461412" y="2413358"/>
                  </a:lnTo>
                  <a:close/>
                  <a:moveTo>
                    <a:pt x="655358" y="1811459"/>
                  </a:moveTo>
                  <a:lnTo>
                    <a:pt x="1383226" y="1816221"/>
                  </a:lnTo>
                  <a:cubicBezTo>
                    <a:pt x="1396191" y="1948247"/>
                    <a:pt x="1424766" y="1978676"/>
                    <a:pt x="1461808" y="2048790"/>
                  </a:cubicBezTo>
                  <a:lnTo>
                    <a:pt x="655358" y="2046409"/>
                  </a:lnTo>
                  <a:cubicBezTo>
                    <a:pt x="590478" y="2046409"/>
                    <a:pt x="537883" y="1993814"/>
                    <a:pt x="537883" y="1928934"/>
                  </a:cubicBezTo>
                  <a:cubicBezTo>
                    <a:pt x="537883" y="1864054"/>
                    <a:pt x="590478" y="1811459"/>
                    <a:pt x="655358" y="1811459"/>
                  </a:cubicBezTo>
                  <a:close/>
                  <a:moveTo>
                    <a:pt x="655358" y="1328859"/>
                  </a:moveTo>
                  <a:lnTo>
                    <a:pt x="1430851" y="1331240"/>
                  </a:lnTo>
                  <a:cubicBezTo>
                    <a:pt x="1379522" y="1448979"/>
                    <a:pt x="1389048" y="1427020"/>
                    <a:pt x="1373702" y="1563809"/>
                  </a:cubicBezTo>
                  <a:lnTo>
                    <a:pt x="655358" y="1563809"/>
                  </a:lnTo>
                  <a:cubicBezTo>
                    <a:pt x="590478" y="1563809"/>
                    <a:pt x="537883" y="1511214"/>
                    <a:pt x="537883" y="1446334"/>
                  </a:cubicBezTo>
                  <a:cubicBezTo>
                    <a:pt x="537883" y="1381454"/>
                    <a:pt x="590478" y="1328859"/>
                    <a:pt x="655358" y="1328859"/>
                  </a:cubicBezTo>
                  <a:close/>
                  <a:moveTo>
                    <a:pt x="2223519" y="1057444"/>
                  </a:moveTo>
                  <a:cubicBezTo>
                    <a:pt x="1896198" y="1057444"/>
                    <a:pt x="1630852" y="1324106"/>
                    <a:pt x="1630852" y="1653050"/>
                  </a:cubicBezTo>
                  <a:cubicBezTo>
                    <a:pt x="1630852" y="1981994"/>
                    <a:pt x="1896198" y="2248656"/>
                    <a:pt x="2223519" y="2248656"/>
                  </a:cubicBezTo>
                  <a:cubicBezTo>
                    <a:pt x="2550840" y="2248656"/>
                    <a:pt x="2816186" y="1981994"/>
                    <a:pt x="2816186" y="1653050"/>
                  </a:cubicBezTo>
                  <a:cubicBezTo>
                    <a:pt x="2816186" y="1324106"/>
                    <a:pt x="2550840" y="1057444"/>
                    <a:pt x="2223519" y="1057444"/>
                  </a:cubicBezTo>
                  <a:close/>
                  <a:moveTo>
                    <a:pt x="2221979" y="940700"/>
                  </a:moveTo>
                  <a:cubicBezTo>
                    <a:pt x="2613063" y="940700"/>
                    <a:pt x="2930100" y="1257681"/>
                    <a:pt x="2930100" y="1648696"/>
                  </a:cubicBezTo>
                  <a:cubicBezTo>
                    <a:pt x="2930100" y="2039711"/>
                    <a:pt x="2613063" y="2356692"/>
                    <a:pt x="2221979" y="2356692"/>
                  </a:cubicBezTo>
                  <a:cubicBezTo>
                    <a:pt x="1830895" y="2356692"/>
                    <a:pt x="1513858" y="2039711"/>
                    <a:pt x="1513858" y="1648696"/>
                  </a:cubicBezTo>
                  <a:cubicBezTo>
                    <a:pt x="1513858" y="1257681"/>
                    <a:pt x="1830895" y="940700"/>
                    <a:pt x="2221979" y="940700"/>
                  </a:cubicBezTo>
                  <a:close/>
                  <a:moveTo>
                    <a:pt x="655356" y="846259"/>
                  </a:moveTo>
                  <a:lnTo>
                    <a:pt x="1903925" y="851022"/>
                  </a:lnTo>
                  <a:cubicBezTo>
                    <a:pt x="1837779" y="894942"/>
                    <a:pt x="1682998" y="946802"/>
                    <a:pt x="1577693" y="1088353"/>
                  </a:cubicBezTo>
                  <a:lnTo>
                    <a:pt x="655356" y="1081209"/>
                  </a:lnTo>
                  <a:cubicBezTo>
                    <a:pt x="590476" y="1081209"/>
                    <a:pt x="537881" y="1028614"/>
                    <a:pt x="537881" y="963734"/>
                  </a:cubicBezTo>
                  <a:cubicBezTo>
                    <a:pt x="537881" y="898854"/>
                    <a:pt x="590476" y="846259"/>
                    <a:pt x="655356" y="846259"/>
                  </a:cubicBezTo>
                  <a:close/>
                  <a:moveTo>
                    <a:pt x="504608" y="0"/>
                  </a:moveTo>
                  <a:lnTo>
                    <a:pt x="2391766" y="0"/>
                  </a:lnTo>
                  <a:cubicBezTo>
                    <a:pt x="2670453" y="0"/>
                    <a:pt x="2896374" y="225921"/>
                    <a:pt x="2896374" y="504608"/>
                  </a:cubicBezTo>
                  <a:lnTo>
                    <a:pt x="2896374" y="1114060"/>
                  </a:lnTo>
                  <a:lnTo>
                    <a:pt x="2866365" y="1081286"/>
                  </a:lnTo>
                  <a:cubicBezTo>
                    <a:pt x="2841389" y="1055895"/>
                    <a:pt x="2814690" y="1030552"/>
                    <a:pt x="2786461" y="1005594"/>
                  </a:cubicBezTo>
                  <a:cubicBezTo>
                    <a:pt x="2744118" y="968157"/>
                    <a:pt x="2701339" y="934243"/>
                    <a:pt x="2659326" y="904354"/>
                  </a:cubicBezTo>
                  <a:lnTo>
                    <a:pt x="2652580" y="900111"/>
                  </a:lnTo>
                  <a:lnTo>
                    <a:pt x="2652580" y="484142"/>
                  </a:lnTo>
                  <a:cubicBezTo>
                    <a:pt x="2652580" y="352291"/>
                    <a:pt x="2545694" y="245405"/>
                    <a:pt x="2413843" y="245405"/>
                  </a:cubicBezTo>
                  <a:lnTo>
                    <a:pt x="477795" y="245405"/>
                  </a:lnTo>
                  <a:cubicBezTo>
                    <a:pt x="345944" y="245405"/>
                    <a:pt x="239058" y="352291"/>
                    <a:pt x="239058" y="484142"/>
                  </a:cubicBezTo>
                  <a:lnTo>
                    <a:pt x="239058" y="2406999"/>
                  </a:lnTo>
                  <a:cubicBezTo>
                    <a:pt x="239058" y="2538850"/>
                    <a:pt x="345944" y="2645736"/>
                    <a:pt x="477795" y="2645736"/>
                  </a:cubicBezTo>
                  <a:lnTo>
                    <a:pt x="2413843" y="2645736"/>
                  </a:lnTo>
                  <a:lnTo>
                    <a:pt x="2431488" y="2643957"/>
                  </a:lnTo>
                  <a:lnTo>
                    <a:pt x="2552384" y="2856253"/>
                  </a:lnTo>
                  <a:lnTo>
                    <a:pt x="2493462" y="2874543"/>
                  </a:lnTo>
                  <a:cubicBezTo>
                    <a:pt x="2460614" y="2881265"/>
                    <a:pt x="2426602" y="2884795"/>
                    <a:pt x="2391766" y="2884795"/>
                  </a:cubicBezTo>
                  <a:lnTo>
                    <a:pt x="504608" y="2884795"/>
                  </a:lnTo>
                  <a:cubicBezTo>
                    <a:pt x="225921" y="2884795"/>
                    <a:pt x="0" y="2658874"/>
                    <a:pt x="0" y="2380187"/>
                  </a:cubicBezTo>
                  <a:lnTo>
                    <a:pt x="0" y="504608"/>
                  </a:lnTo>
                  <a:cubicBezTo>
                    <a:pt x="0" y="225921"/>
                    <a:pt x="225921" y="0"/>
                    <a:pt x="50460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7975" tIns="34000" rIns="67975" bIns="3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616161"/>
                </a:solidFill>
                <a:latin typeface="PT Sans"/>
                <a:ea typeface="PT Sans"/>
                <a:cs typeface="PT Sans"/>
                <a:sym typeface="PT Sans"/>
              </a:endParaRPr>
            </a:p>
          </p:txBody>
        </p:sp>
        <p:sp>
          <p:nvSpPr>
            <p:cNvPr id="146" name="Google Shape;406;p28"/>
            <p:cNvSpPr/>
            <p:nvPr/>
          </p:nvSpPr>
          <p:spPr>
            <a:xfrm>
              <a:off x="13431163" y="2663375"/>
              <a:ext cx="445447" cy="367475"/>
            </a:xfrm>
            <a:custGeom>
              <a:avLst/>
              <a:gdLst/>
              <a:ahLst/>
              <a:cxnLst/>
              <a:rect l="l" t="t" r="r" b="b"/>
              <a:pathLst>
                <a:path w="1335447" h="1382867" extrusionOk="0">
                  <a:moveTo>
                    <a:pt x="640598" y="1220867"/>
                  </a:moveTo>
                  <a:cubicBezTo>
                    <a:pt x="685333" y="1220867"/>
                    <a:pt x="721598" y="1257132"/>
                    <a:pt x="721598" y="1301867"/>
                  </a:cubicBezTo>
                  <a:cubicBezTo>
                    <a:pt x="721598" y="1346602"/>
                    <a:pt x="685333" y="1382867"/>
                    <a:pt x="640598" y="1382867"/>
                  </a:cubicBezTo>
                  <a:cubicBezTo>
                    <a:pt x="595863" y="1382867"/>
                    <a:pt x="559598" y="1346602"/>
                    <a:pt x="559598" y="1301867"/>
                  </a:cubicBezTo>
                  <a:cubicBezTo>
                    <a:pt x="559598" y="1257132"/>
                    <a:pt x="595863" y="1220867"/>
                    <a:pt x="640598" y="1220867"/>
                  </a:cubicBezTo>
                  <a:close/>
                  <a:moveTo>
                    <a:pt x="348228" y="1154153"/>
                  </a:moveTo>
                  <a:cubicBezTo>
                    <a:pt x="387993" y="1154153"/>
                    <a:pt x="420228" y="1186388"/>
                    <a:pt x="420228" y="1226153"/>
                  </a:cubicBezTo>
                  <a:cubicBezTo>
                    <a:pt x="420228" y="1265918"/>
                    <a:pt x="387993" y="1298153"/>
                    <a:pt x="348228" y="1298153"/>
                  </a:cubicBezTo>
                  <a:cubicBezTo>
                    <a:pt x="308463" y="1298153"/>
                    <a:pt x="276228" y="1265918"/>
                    <a:pt x="276228" y="1226153"/>
                  </a:cubicBezTo>
                  <a:cubicBezTo>
                    <a:pt x="276228" y="1186388"/>
                    <a:pt x="308463" y="1154153"/>
                    <a:pt x="348228" y="1154153"/>
                  </a:cubicBezTo>
                  <a:close/>
                  <a:moveTo>
                    <a:pt x="933808" y="1136201"/>
                  </a:moveTo>
                  <a:cubicBezTo>
                    <a:pt x="983514" y="1136201"/>
                    <a:pt x="1023808" y="1176495"/>
                    <a:pt x="1023808" y="1226201"/>
                  </a:cubicBezTo>
                  <a:cubicBezTo>
                    <a:pt x="1023808" y="1275907"/>
                    <a:pt x="983514" y="1316201"/>
                    <a:pt x="933808" y="1316201"/>
                  </a:cubicBezTo>
                  <a:cubicBezTo>
                    <a:pt x="884102" y="1316201"/>
                    <a:pt x="843808" y="1275907"/>
                    <a:pt x="843808" y="1226201"/>
                  </a:cubicBezTo>
                  <a:cubicBezTo>
                    <a:pt x="843808" y="1176495"/>
                    <a:pt x="884102" y="1136201"/>
                    <a:pt x="933808" y="1136201"/>
                  </a:cubicBezTo>
                  <a:close/>
                  <a:moveTo>
                    <a:pt x="134439" y="948538"/>
                  </a:moveTo>
                  <a:cubicBezTo>
                    <a:pt x="169233" y="948538"/>
                    <a:pt x="197439" y="976744"/>
                    <a:pt x="197439" y="1011538"/>
                  </a:cubicBezTo>
                  <a:cubicBezTo>
                    <a:pt x="197439" y="1046332"/>
                    <a:pt x="169233" y="1074538"/>
                    <a:pt x="134439" y="1074538"/>
                  </a:cubicBezTo>
                  <a:cubicBezTo>
                    <a:pt x="99645" y="1074538"/>
                    <a:pt x="71439" y="1046332"/>
                    <a:pt x="71439" y="1011538"/>
                  </a:cubicBezTo>
                  <a:cubicBezTo>
                    <a:pt x="71439" y="976744"/>
                    <a:pt x="99645" y="948538"/>
                    <a:pt x="134439" y="948538"/>
                  </a:cubicBezTo>
                  <a:close/>
                  <a:moveTo>
                    <a:pt x="1149013" y="912014"/>
                  </a:moveTo>
                  <a:cubicBezTo>
                    <a:pt x="1203689" y="912014"/>
                    <a:pt x="1248013" y="956338"/>
                    <a:pt x="1248013" y="1011014"/>
                  </a:cubicBezTo>
                  <a:cubicBezTo>
                    <a:pt x="1248013" y="1065690"/>
                    <a:pt x="1203689" y="1110014"/>
                    <a:pt x="1149013" y="1110014"/>
                  </a:cubicBezTo>
                  <a:cubicBezTo>
                    <a:pt x="1094337" y="1110014"/>
                    <a:pt x="1050013" y="1065690"/>
                    <a:pt x="1050013" y="1011014"/>
                  </a:cubicBezTo>
                  <a:cubicBezTo>
                    <a:pt x="1050013" y="956338"/>
                    <a:pt x="1094337" y="912014"/>
                    <a:pt x="1149013" y="912014"/>
                  </a:cubicBezTo>
                  <a:close/>
                  <a:moveTo>
                    <a:pt x="54000" y="666501"/>
                  </a:moveTo>
                  <a:cubicBezTo>
                    <a:pt x="83823" y="666501"/>
                    <a:pt x="108000" y="690678"/>
                    <a:pt x="108000" y="720501"/>
                  </a:cubicBezTo>
                  <a:cubicBezTo>
                    <a:pt x="108000" y="750324"/>
                    <a:pt x="83823" y="774501"/>
                    <a:pt x="54000" y="774501"/>
                  </a:cubicBezTo>
                  <a:cubicBezTo>
                    <a:pt x="24177" y="774501"/>
                    <a:pt x="0" y="750324"/>
                    <a:pt x="0" y="720501"/>
                  </a:cubicBezTo>
                  <a:cubicBezTo>
                    <a:pt x="0" y="690678"/>
                    <a:pt x="24177" y="666501"/>
                    <a:pt x="54000" y="666501"/>
                  </a:cubicBezTo>
                  <a:close/>
                  <a:moveTo>
                    <a:pt x="1227447" y="611977"/>
                  </a:moveTo>
                  <a:cubicBezTo>
                    <a:pt x="1287094" y="611977"/>
                    <a:pt x="1335447" y="660330"/>
                    <a:pt x="1335447" y="719977"/>
                  </a:cubicBezTo>
                  <a:cubicBezTo>
                    <a:pt x="1335447" y="779624"/>
                    <a:pt x="1287094" y="827977"/>
                    <a:pt x="1227447" y="827977"/>
                  </a:cubicBezTo>
                  <a:cubicBezTo>
                    <a:pt x="1167800" y="827977"/>
                    <a:pt x="1119447" y="779624"/>
                    <a:pt x="1119447" y="719977"/>
                  </a:cubicBezTo>
                  <a:cubicBezTo>
                    <a:pt x="1119447" y="660330"/>
                    <a:pt x="1167800" y="611977"/>
                    <a:pt x="1227447" y="611977"/>
                  </a:cubicBezTo>
                  <a:close/>
                  <a:moveTo>
                    <a:pt x="132582" y="382083"/>
                  </a:moveTo>
                  <a:cubicBezTo>
                    <a:pt x="157435" y="382083"/>
                    <a:pt x="177582" y="402230"/>
                    <a:pt x="177582" y="427083"/>
                  </a:cubicBezTo>
                  <a:cubicBezTo>
                    <a:pt x="177582" y="451936"/>
                    <a:pt x="157435" y="472083"/>
                    <a:pt x="132582" y="472083"/>
                  </a:cubicBezTo>
                  <a:cubicBezTo>
                    <a:pt x="107729" y="472083"/>
                    <a:pt x="87582" y="451936"/>
                    <a:pt x="87582" y="427083"/>
                  </a:cubicBezTo>
                  <a:cubicBezTo>
                    <a:pt x="87582" y="402230"/>
                    <a:pt x="107729" y="382083"/>
                    <a:pt x="132582" y="382083"/>
                  </a:cubicBezTo>
                  <a:close/>
                  <a:moveTo>
                    <a:pt x="591253" y="363035"/>
                  </a:moveTo>
                  <a:lnTo>
                    <a:pt x="684900" y="363035"/>
                  </a:lnTo>
                  <a:lnTo>
                    <a:pt x="684900" y="742492"/>
                  </a:lnTo>
                  <a:lnTo>
                    <a:pt x="685866" y="744231"/>
                  </a:lnTo>
                  <a:lnTo>
                    <a:pt x="335761" y="938683"/>
                  </a:lnTo>
                  <a:lnTo>
                    <a:pt x="290291" y="856816"/>
                  </a:lnTo>
                  <a:lnTo>
                    <a:pt x="591253" y="689658"/>
                  </a:lnTo>
                  <a:close/>
                  <a:moveTo>
                    <a:pt x="1148342" y="311940"/>
                  </a:moveTo>
                  <a:cubicBezTo>
                    <a:pt x="1212959" y="311940"/>
                    <a:pt x="1265342" y="364323"/>
                    <a:pt x="1265342" y="428940"/>
                  </a:cubicBezTo>
                  <a:cubicBezTo>
                    <a:pt x="1265342" y="493557"/>
                    <a:pt x="1212959" y="545940"/>
                    <a:pt x="1148342" y="545940"/>
                  </a:cubicBezTo>
                  <a:cubicBezTo>
                    <a:pt x="1083725" y="545940"/>
                    <a:pt x="1031342" y="493557"/>
                    <a:pt x="1031342" y="428940"/>
                  </a:cubicBezTo>
                  <a:cubicBezTo>
                    <a:pt x="1031342" y="364323"/>
                    <a:pt x="1083725" y="311940"/>
                    <a:pt x="1148342" y="311940"/>
                  </a:cubicBezTo>
                  <a:close/>
                  <a:moveTo>
                    <a:pt x="346371" y="178629"/>
                  </a:moveTo>
                  <a:cubicBezTo>
                    <a:pt x="366253" y="178629"/>
                    <a:pt x="382371" y="194747"/>
                    <a:pt x="382371" y="214629"/>
                  </a:cubicBezTo>
                  <a:cubicBezTo>
                    <a:pt x="382371" y="234511"/>
                    <a:pt x="366253" y="250629"/>
                    <a:pt x="346371" y="250629"/>
                  </a:cubicBezTo>
                  <a:cubicBezTo>
                    <a:pt x="326489" y="250629"/>
                    <a:pt x="310371" y="234511"/>
                    <a:pt x="310371" y="214629"/>
                  </a:cubicBezTo>
                  <a:cubicBezTo>
                    <a:pt x="310371" y="194747"/>
                    <a:pt x="326489" y="178629"/>
                    <a:pt x="346371" y="178629"/>
                  </a:cubicBezTo>
                  <a:close/>
                  <a:moveTo>
                    <a:pt x="935141" y="88105"/>
                  </a:moveTo>
                  <a:cubicBezTo>
                    <a:pt x="1004729" y="88105"/>
                    <a:pt x="1061141" y="144517"/>
                    <a:pt x="1061141" y="214105"/>
                  </a:cubicBezTo>
                  <a:cubicBezTo>
                    <a:pt x="1061141" y="283693"/>
                    <a:pt x="1004729" y="340105"/>
                    <a:pt x="935141" y="340105"/>
                  </a:cubicBezTo>
                  <a:cubicBezTo>
                    <a:pt x="865553" y="340105"/>
                    <a:pt x="809141" y="283693"/>
                    <a:pt x="809141" y="214105"/>
                  </a:cubicBezTo>
                  <a:cubicBezTo>
                    <a:pt x="809141" y="144517"/>
                    <a:pt x="865553" y="88105"/>
                    <a:pt x="935141" y="88105"/>
                  </a:cubicBezTo>
                  <a:close/>
                  <a:moveTo>
                    <a:pt x="640074" y="0"/>
                  </a:moveTo>
                  <a:cubicBezTo>
                    <a:pt x="714632" y="0"/>
                    <a:pt x="775074" y="60442"/>
                    <a:pt x="775074" y="135000"/>
                  </a:cubicBezTo>
                  <a:cubicBezTo>
                    <a:pt x="775074" y="209558"/>
                    <a:pt x="714632" y="270000"/>
                    <a:pt x="640074" y="270000"/>
                  </a:cubicBezTo>
                  <a:cubicBezTo>
                    <a:pt x="565516" y="270000"/>
                    <a:pt x="505074" y="209558"/>
                    <a:pt x="505074" y="135000"/>
                  </a:cubicBezTo>
                  <a:cubicBezTo>
                    <a:pt x="505074" y="60442"/>
                    <a:pt x="565516" y="0"/>
                    <a:pt x="640074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68425" tIns="34200" rIns="68425" bIns="342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86316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ả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ực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n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4707399" y="11703900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Google Shape;480;p30"/>
          <p:cNvSpPr/>
          <p:nvPr/>
        </p:nvSpPr>
        <p:spPr>
          <a:xfrm>
            <a:off x="7758162" y="960844"/>
            <a:ext cx="430156" cy="661926"/>
          </a:xfrm>
          <a:custGeom>
            <a:avLst/>
            <a:gdLst/>
            <a:ahLst/>
            <a:cxnLst/>
            <a:rect l="l" t="t" r="r" b="b"/>
            <a:pathLst>
              <a:path w="450426" h="693116" extrusionOk="0">
                <a:moveTo>
                  <a:pt x="130202" y="640170"/>
                </a:moveTo>
                <a:lnTo>
                  <a:pt x="322091" y="641201"/>
                </a:lnTo>
                <a:lnTo>
                  <a:pt x="280423" y="676269"/>
                </a:lnTo>
                <a:lnTo>
                  <a:pt x="280423" y="688761"/>
                </a:lnTo>
                <a:cubicBezTo>
                  <a:pt x="280423" y="691166"/>
                  <a:pt x="278350" y="693116"/>
                  <a:pt x="275793" y="693116"/>
                </a:cubicBezTo>
                <a:lnTo>
                  <a:pt x="175402" y="693116"/>
                </a:lnTo>
                <a:cubicBezTo>
                  <a:pt x="172845" y="693116"/>
                  <a:pt x="170772" y="691166"/>
                  <a:pt x="170772" y="688761"/>
                </a:cubicBezTo>
                <a:lnTo>
                  <a:pt x="170772" y="674315"/>
                </a:lnTo>
                <a:close/>
                <a:moveTo>
                  <a:pt x="131179" y="615417"/>
                </a:moveTo>
                <a:lnTo>
                  <a:pt x="318639" y="615417"/>
                </a:lnTo>
                <a:cubicBezTo>
                  <a:pt x="320165" y="615417"/>
                  <a:pt x="321402" y="616580"/>
                  <a:pt x="321402" y="618015"/>
                </a:cubicBezTo>
                <a:lnTo>
                  <a:pt x="321402" y="628411"/>
                </a:lnTo>
                <a:cubicBezTo>
                  <a:pt x="321402" y="629846"/>
                  <a:pt x="320165" y="631010"/>
                  <a:pt x="318639" y="631010"/>
                </a:cubicBezTo>
                <a:lnTo>
                  <a:pt x="131179" y="631010"/>
                </a:lnTo>
                <a:cubicBezTo>
                  <a:pt x="129653" y="631010"/>
                  <a:pt x="128416" y="629846"/>
                  <a:pt x="128416" y="628411"/>
                </a:cubicBezTo>
                <a:lnTo>
                  <a:pt x="128416" y="618015"/>
                </a:lnTo>
                <a:cubicBezTo>
                  <a:pt x="128416" y="616580"/>
                  <a:pt x="129653" y="615417"/>
                  <a:pt x="131179" y="615417"/>
                </a:cubicBezTo>
                <a:close/>
                <a:moveTo>
                  <a:pt x="131179" y="590663"/>
                </a:moveTo>
                <a:lnTo>
                  <a:pt x="318639" y="590663"/>
                </a:lnTo>
                <a:cubicBezTo>
                  <a:pt x="320165" y="590663"/>
                  <a:pt x="321402" y="591826"/>
                  <a:pt x="321402" y="593261"/>
                </a:cubicBezTo>
                <a:lnTo>
                  <a:pt x="321402" y="603657"/>
                </a:lnTo>
                <a:cubicBezTo>
                  <a:pt x="321402" y="605092"/>
                  <a:pt x="320165" y="606256"/>
                  <a:pt x="318639" y="606256"/>
                </a:cubicBezTo>
                <a:lnTo>
                  <a:pt x="131179" y="606256"/>
                </a:lnTo>
                <a:cubicBezTo>
                  <a:pt x="129653" y="606256"/>
                  <a:pt x="128416" y="605092"/>
                  <a:pt x="128416" y="603657"/>
                </a:cubicBezTo>
                <a:lnTo>
                  <a:pt x="128416" y="593261"/>
                </a:lnTo>
                <a:cubicBezTo>
                  <a:pt x="128416" y="591826"/>
                  <a:pt x="129653" y="590663"/>
                  <a:pt x="131179" y="590663"/>
                </a:cubicBezTo>
                <a:close/>
                <a:moveTo>
                  <a:pt x="131179" y="564877"/>
                </a:moveTo>
                <a:lnTo>
                  <a:pt x="318639" y="564877"/>
                </a:lnTo>
                <a:cubicBezTo>
                  <a:pt x="320165" y="564877"/>
                  <a:pt x="321402" y="566040"/>
                  <a:pt x="321402" y="567476"/>
                </a:cubicBezTo>
                <a:lnTo>
                  <a:pt x="321402" y="577871"/>
                </a:lnTo>
                <a:cubicBezTo>
                  <a:pt x="321402" y="579307"/>
                  <a:pt x="320165" y="580470"/>
                  <a:pt x="318639" y="580470"/>
                </a:cubicBezTo>
                <a:lnTo>
                  <a:pt x="131179" y="580470"/>
                </a:lnTo>
                <a:cubicBezTo>
                  <a:pt x="129653" y="580470"/>
                  <a:pt x="128416" y="579307"/>
                  <a:pt x="128416" y="577871"/>
                </a:cubicBezTo>
                <a:lnTo>
                  <a:pt x="128416" y="567476"/>
                </a:lnTo>
                <a:cubicBezTo>
                  <a:pt x="128416" y="566040"/>
                  <a:pt x="129653" y="564877"/>
                  <a:pt x="131179" y="564877"/>
                </a:cubicBezTo>
                <a:close/>
                <a:moveTo>
                  <a:pt x="131179" y="538445"/>
                </a:moveTo>
                <a:lnTo>
                  <a:pt x="318639" y="538445"/>
                </a:lnTo>
                <a:cubicBezTo>
                  <a:pt x="320165" y="538445"/>
                  <a:pt x="321402" y="539608"/>
                  <a:pt x="321402" y="541044"/>
                </a:cubicBezTo>
                <a:lnTo>
                  <a:pt x="321402" y="551439"/>
                </a:lnTo>
                <a:cubicBezTo>
                  <a:pt x="321402" y="552874"/>
                  <a:pt x="320165" y="554038"/>
                  <a:pt x="318639" y="554038"/>
                </a:cubicBezTo>
                <a:lnTo>
                  <a:pt x="131179" y="554038"/>
                </a:lnTo>
                <a:cubicBezTo>
                  <a:pt x="129653" y="554038"/>
                  <a:pt x="128416" y="552874"/>
                  <a:pt x="128416" y="551439"/>
                </a:cubicBezTo>
                <a:lnTo>
                  <a:pt x="128416" y="541044"/>
                </a:lnTo>
                <a:cubicBezTo>
                  <a:pt x="128416" y="539608"/>
                  <a:pt x="129653" y="538445"/>
                  <a:pt x="131179" y="538445"/>
                </a:cubicBezTo>
                <a:close/>
                <a:moveTo>
                  <a:pt x="310009" y="525367"/>
                </a:moveTo>
                <a:lnTo>
                  <a:pt x="317810" y="525494"/>
                </a:lnTo>
                <a:cubicBezTo>
                  <a:pt x="320795" y="525629"/>
                  <a:pt x="311549" y="525739"/>
                  <a:pt x="310009" y="525367"/>
                </a:cubicBezTo>
                <a:close/>
                <a:moveTo>
                  <a:pt x="228887" y="0"/>
                </a:moveTo>
                <a:cubicBezTo>
                  <a:pt x="247650" y="573"/>
                  <a:pt x="264828" y="802"/>
                  <a:pt x="282982" y="4814"/>
                </a:cubicBezTo>
                <a:cubicBezTo>
                  <a:pt x="301135" y="8825"/>
                  <a:pt x="322700" y="16618"/>
                  <a:pt x="337807" y="24067"/>
                </a:cubicBezTo>
                <a:cubicBezTo>
                  <a:pt x="352915" y="31516"/>
                  <a:pt x="361687" y="39309"/>
                  <a:pt x="373626" y="49509"/>
                </a:cubicBezTo>
                <a:cubicBezTo>
                  <a:pt x="385566" y="59708"/>
                  <a:pt x="399455" y="72200"/>
                  <a:pt x="409446" y="85264"/>
                </a:cubicBezTo>
                <a:cubicBezTo>
                  <a:pt x="419436" y="98329"/>
                  <a:pt x="427477" y="114717"/>
                  <a:pt x="433569" y="127897"/>
                </a:cubicBezTo>
                <a:cubicBezTo>
                  <a:pt x="439661" y="141076"/>
                  <a:pt x="443194" y="151619"/>
                  <a:pt x="445996" y="164340"/>
                </a:cubicBezTo>
                <a:cubicBezTo>
                  <a:pt x="448798" y="177061"/>
                  <a:pt x="450748" y="189094"/>
                  <a:pt x="450382" y="204222"/>
                </a:cubicBezTo>
                <a:cubicBezTo>
                  <a:pt x="450017" y="219349"/>
                  <a:pt x="447580" y="238488"/>
                  <a:pt x="443803" y="255105"/>
                </a:cubicBezTo>
                <a:cubicBezTo>
                  <a:pt x="440026" y="271723"/>
                  <a:pt x="433447" y="290288"/>
                  <a:pt x="427721" y="303926"/>
                </a:cubicBezTo>
                <a:cubicBezTo>
                  <a:pt x="421995" y="317564"/>
                  <a:pt x="415416" y="326044"/>
                  <a:pt x="409446" y="336931"/>
                </a:cubicBezTo>
                <a:cubicBezTo>
                  <a:pt x="403476" y="347819"/>
                  <a:pt x="397384" y="359508"/>
                  <a:pt x="391902" y="369249"/>
                </a:cubicBezTo>
                <a:cubicBezTo>
                  <a:pt x="386419" y="378991"/>
                  <a:pt x="381180" y="387013"/>
                  <a:pt x="376551" y="395379"/>
                </a:cubicBezTo>
                <a:cubicBezTo>
                  <a:pt x="371921" y="403745"/>
                  <a:pt x="367900" y="411996"/>
                  <a:pt x="364123" y="419445"/>
                </a:cubicBezTo>
                <a:cubicBezTo>
                  <a:pt x="360347" y="426894"/>
                  <a:pt x="355961" y="434114"/>
                  <a:pt x="353889" y="440074"/>
                </a:cubicBezTo>
                <a:cubicBezTo>
                  <a:pt x="351818" y="446033"/>
                  <a:pt x="352915" y="446721"/>
                  <a:pt x="351696" y="455201"/>
                </a:cubicBezTo>
                <a:cubicBezTo>
                  <a:pt x="350478" y="463682"/>
                  <a:pt x="350478" y="479955"/>
                  <a:pt x="346579" y="490957"/>
                </a:cubicBezTo>
                <a:cubicBezTo>
                  <a:pt x="342681" y="501959"/>
                  <a:pt x="334396" y="515482"/>
                  <a:pt x="328304" y="521212"/>
                </a:cubicBezTo>
                <a:cubicBezTo>
                  <a:pt x="322212" y="526942"/>
                  <a:pt x="313928" y="524650"/>
                  <a:pt x="310029" y="525338"/>
                </a:cubicBezTo>
                <a:cubicBezTo>
                  <a:pt x="310020" y="525339"/>
                  <a:pt x="310012" y="525341"/>
                  <a:pt x="310009" y="525367"/>
                </a:cubicBezTo>
                <a:cubicBezTo>
                  <a:pt x="308545" y="525355"/>
                  <a:pt x="306855" y="525346"/>
                  <a:pt x="304912" y="525338"/>
                </a:cubicBezTo>
                <a:cubicBezTo>
                  <a:pt x="304835" y="525339"/>
                  <a:pt x="164672" y="526484"/>
                  <a:pt x="134588" y="524650"/>
                </a:cubicBezTo>
                <a:lnTo>
                  <a:pt x="124353" y="514336"/>
                </a:lnTo>
                <a:cubicBezTo>
                  <a:pt x="119846" y="510096"/>
                  <a:pt x="113754" y="504480"/>
                  <a:pt x="109002" y="498521"/>
                </a:cubicBezTo>
                <a:cubicBezTo>
                  <a:pt x="104251" y="492562"/>
                  <a:pt x="97915" y="486029"/>
                  <a:pt x="95844" y="478580"/>
                </a:cubicBezTo>
                <a:cubicBezTo>
                  <a:pt x="93773" y="471131"/>
                  <a:pt x="96941" y="461734"/>
                  <a:pt x="96575" y="453826"/>
                </a:cubicBezTo>
                <a:cubicBezTo>
                  <a:pt x="96210" y="445918"/>
                  <a:pt x="95601" y="437552"/>
                  <a:pt x="93651" y="431135"/>
                </a:cubicBezTo>
                <a:cubicBezTo>
                  <a:pt x="91702" y="424717"/>
                  <a:pt x="89143" y="423227"/>
                  <a:pt x="84879" y="415320"/>
                </a:cubicBezTo>
                <a:cubicBezTo>
                  <a:pt x="80615" y="407412"/>
                  <a:pt x="74280" y="394577"/>
                  <a:pt x="68066" y="383689"/>
                </a:cubicBezTo>
                <a:cubicBezTo>
                  <a:pt x="61852" y="372802"/>
                  <a:pt x="54786" y="361915"/>
                  <a:pt x="47598" y="349996"/>
                </a:cubicBezTo>
                <a:cubicBezTo>
                  <a:pt x="40410" y="338077"/>
                  <a:pt x="31272" y="325127"/>
                  <a:pt x="24937" y="312177"/>
                </a:cubicBezTo>
                <a:cubicBezTo>
                  <a:pt x="18601" y="299227"/>
                  <a:pt x="13606" y="285360"/>
                  <a:pt x="9586" y="272296"/>
                </a:cubicBezTo>
                <a:cubicBezTo>
                  <a:pt x="5565" y="259231"/>
                  <a:pt x="2154" y="248917"/>
                  <a:pt x="813" y="233789"/>
                </a:cubicBezTo>
                <a:cubicBezTo>
                  <a:pt x="-527" y="218662"/>
                  <a:pt x="-161" y="197804"/>
                  <a:pt x="1544" y="181531"/>
                </a:cubicBezTo>
                <a:cubicBezTo>
                  <a:pt x="3250" y="165257"/>
                  <a:pt x="5078" y="151390"/>
                  <a:pt x="11048" y="136148"/>
                </a:cubicBezTo>
                <a:cubicBezTo>
                  <a:pt x="17017" y="120906"/>
                  <a:pt x="28226" y="103257"/>
                  <a:pt x="37364" y="90078"/>
                </a:cubicBezTo>
                <a:cubicBezTo>
                  <a:pt x="46501" y="76899"/>
                  <a:pt x="56004" y="66584"/>
                  <a:pt x="65873" y="57072"/>
                </a:cubicBezTo>
                <a:cubicBezTo>
                  <a:pt x="75742" y="47560"/>
                  <a:pt x="86219" y="39882"/>
                  <a:pt x="96575" y="33006"/>
                </a:cubicBezTo>
                <a:cubicBezTo>
                  <a:pt x="106931" y="26130"/>
                  <a:pt x="115703" y="21087"/>
                  <a:pt x="128009" y="15815"/>
                </a:cubicBezTo>
                <a:cubicBezTo>
                  <a:pt x="140314" y="10544"/>
                  <a:pt x="153594" y="4011"/>
                  <a:pt x="170407" y="137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34200" tIns="17100" rIns="34200" bIns="171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6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6" name="Google Shape;481;p30"/>
          <p:cNvSpPr/>
          <p:nvPr/>
        </p:nvSpPr>
        <p:spPr>
          <a:xfrm>
            <a:off x="8420958" y="960831"/>
            <a:ext cx="4281000" cy="4345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vi" sz="32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Hệ </a:t>
            </a:r>
            <a:r>
              <a:rPr lang="vi" sz="3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thống </a:t>
            </a:r>
            <a:r>
              <a:rPr lang="en-US" sz="3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xử lý lõi</a:t>
            </a:r>
            <a:endParaRPr sz="3200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  <a:p>
            <a:pPr algn="just">
              <a:lnSpc>
                <a:spcPct val="115000"/>
              </a:lnSpc>
              <a:spcBef>
                <a:spcPts val="2000"/>
              </a:spcBef>
              <a:spcAft>
                <a:spcPts val="0"/>
              </a:spcAft>
            </a:pPr>
            <a:r>
              <a:rPr lang="en-US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Cung cấp các hàm xử lý lõi cho việc trích xuất dữ liệu từ video</a:t>
            </a:r>
          </a:p>
          <a:p>
            <a:pPr algn="just">
              <a:lnSpc>
                <a:spcPct val="115000"/>
              </a:lnSpc>
              <a:spcBef>
                <a:spcPts val="2000"/>
              </a:spcBef>
              <a:spcAft>
                <a:spcPts val="0"/>
              </a:spcAft>
            </a:pPr>
            <a:r>
              <a:rPr lang="en-US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Cung cấp bộ mã nguồn để dựng hệ thống</a:t>
            </a:r>
            <a:endParaRPr sz="2600" dirty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</p:txBody>
      </p:sp>
      <p:sp>
        <p:nvSpPr>
          <p:cNvPr id="27" name="Google Shape;482;p30"/>
          <p:cNvSpPr/>
          <p:nvPr/>
        </p:nvSpPr>
        <p:spPr>
          <a:xfrm>
            <a:off x="13364754" y="5306518"/>
            <a:ext cx="3973800" cy="2754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Tài </a:t>
            </a:r>
            <a:r>
              <a:rPr lang="en-US" sz="3200" dirty="0" err="1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liệu</a:t>
            </a:r>
            <a:r>
              <a:rPr lang="en-US" sz="3200" dirty="0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 </a:t>
            </a:r>
            <a:r>
              <a:rPr lang="en-US" sz="3200" dirty="0" err="1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vận</a:t>
            </a:r>
            <a:r>
              <a:rPr lang="en-US" sz="3200" dirty="0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 </a:t>
            </a:r>
            <a:r>
              <a:rPr lang="en-US" sz="3200" dirty="0" err="1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hành</a:t>
            </a:r>
            <a:r>
              <a:rPr lang="vi" sz="3200" dirty="0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 </a:t>
            </a:r>
            <a:br>
              <a:rPr lang="vi-VN" sz="3200" dirty="0">
                <a:solidFill>
                  <a:srgbClr val="E0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</a:br>
            <a:r>
              <a:rPr lang="en-US" sz="26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T</a:t>
            </a:r>
            <a:r>
              <a:rPr lang="vi-VN" sz="26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ài liệu hướng dẫn cài đặt và vận hành sử dụng, kết nối tích hợp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sz="3200" dirty="0">
              <a:solidFill>
                <a:schemeClr val="lt2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</p:txBody>
      </p:sp>
      <p:sp>
        <p:nvSpPr>
          <p:cNvPr id="29" name="Google Shape;484;p30"/>
          <p:cNvSpPr/>
          <p:nvPr/>
        </p:nvSpPr>
        <p:spPr>
          <a:xfrm>
            <a:off x="8420958" y="5460475"/>
            <a:ext cx="4114800" cy="2075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vi" sz="3200" dirty="0">
                <a:solidFill>
                  <a:srgbClr val="434343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Tài liệu thiết kế</a:t>
            </a:r>
            <a:endParaRPr sz="3200" dirty="0">
              <a:solidFill>
                <a:srgbClr val="434343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vi" sz="2600" dirty="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Tài liệu thiết kế hệ thống</a:t>
            </a:r>
            <a:r>
              <a:rPr lang="vi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, CSDL;</a:t>
            </a:r>
            <a:r>
              <a:rPr lang="en-US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 </a:t>
            </a:r>
            <a:r>
              <a:rPr lang="vi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mô tả </a:t>
            </a:r>
            <a:r>
              <a:rPr lang="en-US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API</a:t>
            </a:r>
            <a:endParaRPr sz="2600" dirty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</p:txBody>
      </p:sp>
      <p:sp>
        <p:nvSpPr>
          <p:cNvPr id="30" name="Google Shape;485;p30"/>
          <p:cNvSpPr/>
          <p:nvPr/>
        </p:nvSpPr>
        <p:spPr>
          <a:xfrm>
            <a:off x="12934598" y="5386712"/>
            <a:ext cx="430156" cy="661926"/>
          </a:xfrm>
          <a:custGeom>
            <a:avLst/>
            <a:gdLst/>
            <a:ahLst/>
            <a:cxnLst/>
            <a:rect l="l" t="t" r="r" b="b"/>
            <a:pathLst>
              <a:path w="450426" h="693116" extrusionOk="0">
                <a:moveTo>
                  <a:pt x="130202" y="640170"/>
                </a:moveTo>
                <a:lnTo>
                  <a:pt x="322091" y="641201"/>
                </a:lnTo>
                <a:lnTo>
                  <a:pt x="280423" y="676269"/>
                </a:lnTo>
                <a:lnTo>
                  <a:pt x="280423" y="688761"/>
                </a:lnTo>
                <a:cubicBezTo>
                  <a:pt x="280423" y="691166"/>
                  <a:pt x="278350" y="693116"/>
                  <a:pt x="275793" y="693116"/>
                </a:cubicBezTo>
                <a:lnTo>
                  <a:pt x="175402" y="693116"/>
                </a:lnTo>
                <a:cubicBezTo>
                  <a:pt x="172845" y="693116"/>
                  <a:pt x="170772" y="691166"/>
                  <a:pt x="170772" y="688761"/>
                </a:cubicBezTo>
                <a:lnTo>
                  <a:pt x="170772" y="674315"/>
                </a:lnTo>
                <a:close/>
                <a:moveTo>
                  <a:pt x="131179" y="615417"/>
                </a:moveTo>
                <a:lnTo>
                  <a:pt x="318639" y="615417"/>
                </a:lnTo>
                <a:cubicBezTo>
                  <a:pt x="320165" y="615417"/>
                  <a:pt x="321402" y="616580"/>
                  <a:pt x="321402" y="618015"/>
                </a:cubicBezTo>
                <a:lnTo>
                  <a:pt x="321402" y="628411"/>
                </a:lnTo>
                <a:cubicBezTo>
                  <a:pt x="321402" y="629846"/>
                  <a:pt x="320165" y="631010"/>
                  <a:pt x="318639" y="631010"/>
                </a:cubicBezTo>
                <a:lnTo>
                  <a:pt x="131179" y="631010"/>
                </a:lnTo>
                <a:cubicBezTo>
                  <a:pt x="129653" y="631010"/>
                  <a:pt x="128416" y="629846"/>
                  <a:pt x="128416" y="628411"/>
                </a:cubicBezTo>
                <a:lnTo>
                  <a:pt x="128416" y="618015"/>
                </a:lnTo>
                <a:cubicBezTo>
                  <a:pt x="128416" y="616580"/>
                  <a:pt x="129653" y="615417"/>
                  <a:pt x="131179" y="615417"/>
                </a:cubicBezTo>
                <a:close/>
                <a:moveTo>
                  <a:pt x="131179" y="590663"/>
                </a:moveTo>
                <a:lnTo>
                  <a:pt x="318639" y="590663"/>
                </a:lnTo>
                <a:cubicBezTo>
                  <a:pt x="320165" y="590663"/>
                  <a:pt x="321402" y="591826"/>
                  <a:pt x="321402" y="593261"/>
                </a:cubicBezTo>
                <a:lnTo>
                  <a:pt x="321402" y="603657"/>
                </a:lnTo>
                <a:cubicBezTo>
                  <a:pt x="321402" y="605092"/>
                  <a:pt x="320165" y="606256"/>
                  <a:pt x="318639" y="606256"/>
                </a:cubicBezTo>
                <a:lnTo>
                  <a:pt x="131179" y="606256"/>
                </a:lnTo>
                <a:cubicBezTo>
                  <a:pt x="129653" y="606256"/>
                  <a:pt x="128416" y="605092"/>
                  <a:pt x="128416" y="603657"/>
                </a:cubicBezTo>
                <a:lnTo>
                  <a:pt x="128416" y="593261"/>
                </a:lnTo>
                <a:cubicBezTo>
                  <a:pt x="128416" y="591826"/>
                  <a:pt x="129653" y="590663"/>
                  <a:pt x="131179" y="590663"/>
                </a:cubicBezTo>
                <a:close/>
                <a:moveTo>
                  <a:pt x="131179" y="564877"/>
                </a:moveTo>
                <a:lnTo>
                  <a:pt x="318639" y="564877"/>
                </a:lnTo>
                <a:cubicBezTo>
                  <a:pt x="320165" y="564877"/>
                  <a:pt x="321402" y="566040"/>
                  <a:pt x="321402" y="567476"/>
                </a:cubicBezTo>
                <a:lnTo>
                  <a:pt x="321402" y="577871"/>
                </a:lnTo>
                <a:cubicBezTo>
                  <a:pt x="321402" y="579307"/>
                  <a:pt x="320165" y="580470"/>
                  <a:pt x="318639" y="580470"/>
                </a:cubicBezTo>
                <a:lnTo>
                  <a:pt x="131179" y="580470"/>
                </a:lnTo>
                <a:cubicBezTo>
                  <a:pt x="129653" y="580470"/>
                  <a:pt x="128416" y="579307"/>
                  <a:pt x="128416" y="577871"/>
                </a:cubicBezTo>
                <a:lnTo>
                  <a:pt x="128416" y="567476"/>
                </a:lnTo>
                <a:cubicBezTo>
                  <a:pt x="128416" y="566040"/>
                  <a:pt x="129653" y="564877"/>
                  <a:pt x="131179" y="564877"/>
                </a:cubicBezTo>
                <a:close/>
                <a:moveTo>
                  <a:pt x="131179" y="538445"/>
                </a:moveTo>
                <a:lnTo>
                  <a:pt x="318639" y="538445"/>
                </a:lnTo>
                <a:cubicBezTo>
                  <a:pt x="320165" y="538445"/>
                  <a:pt x="321402" y="539608"/>
                  <a:pt x="321402" y="541044"/>
                </a:cubicBezTo>
                <a:lnTo>
                  <a:pt x="321402" y="551439"/>
                </a:lnTo>
                <a:cubicBezTo>
                  <a:pt x="321402" y="552874"/>
                  <a:pt x="320165" y="554038"/>
                  <a:pt x="318639" y="554038"/>
                </a:cubicBezTo>
                <a:lnTo>
                  <a:pt x="131179" y="554038"/>
                </a:lnTo>
                <a:cubicBezTo>
                  <a:pt x="129653" y="554038"/>
                  <a:pt x="128416" y="552874"/>
                  <a:pt x="128416" y="551439"/>
                </a:cubicBezTo>
                <a:lnTo>
                  <a:pt x="128416" y="541044"/>
                </a:lnTo>
                <a:cubicBezTo>
                  <a:pt x="128416" y="539608"/>
                  <a:pt x="129653" y="538445"/>
                  <a:pt x="131179" y="538445"/>
                </a:cubicBezTo>
                <a:close/>
                <a:moveTo>
                  <a:pt x="310009" y="525367"/>
                </a:moveTo>
                <a:lnTo>
                  <a:pt x="317810" y="525494"/>
                </a:lnTo>
                <a:cubicBezTo>
                  <a:pt x="320795" y="525629"/>
                  <a:pt x="311549" y="525739"/>
                  <a:pt x="310009" y="525367"/>
                </a:cubicBezTo>
                <a:close/>
                <a:moveTo>
                  <a:pt x="228887" y="0"/>
                </a:moveTo>
                <a:cubicBezTo>
                  <a:pt x="247650" y="573"/>
                  <a:pt x="264828" y="802"/>
                  <a:pt x="282982" y="4814"/>
                </a:cubicBezTo>
                <a:cubicBezTo>
                  <a:pt x="301135" y="8825"/>
                  <a:pt x="322700" y="16618"/>
                  <a:pt x="337807" y="24067"/>
                </a:cubicBezTo>
                <a:cubicBezTo>
                  <a:pt x="352915" y="31516"/>
                  <a:pt x="361687" y="39309"/>
                  <a:pt x="373626" y="49509"/>
                </a:cubicBezTo>
                <a:cubicBezTo>
                  <a:pt x="385566" y="59708"/>
                  <a:pt x="399455" y="72200"/>
                  <a:pt x="409446" y="85264"/>
                </a:cubicBezTo>
                <a:cubicBezTo>
                  <a:pt x="419436" y="98329"/>
                  <a:pt x="427477" y="114717"/>
                  <a:pt x="433569" y="127897"/>
                </a:cubicBezTo>
                <a:cubicBezTo>
                  <a:pt x="439661" y="141076"/>
                  <a:pt x="443194" y="151619"/>
                  <a:pt x="445996" y="164340"/>
                </a:cubicBezTo>
                <a:cubicBezTo>
                  <a:pt x="448798" y="177061"/>
                  <a:pt x="450748" y="189094"/>
                  <a:pt x="450382" y="204222"/>
                </a:cubicBezTo>
                <a:cubicBezTo>
                  <a:pt x="450017" y="219349"/>
                  <a:pt x="447580" y="238488"/>
                  <a:pt x="443803" y="255105"/>
                </a:cubicBezTo>
                <a:cubicBezTo>
                  <a:pt x="440026" y="271723"/>
                  <a:pt x="433447" y="290288"/>
                  <a:pt x="427721" y="303926"/>
                </a:cubicBezTo>
                <a:cubicBezTo>
                  <a:pt x="421995" y="317564"/>
                  <a:pt x="415416" y="326044"/>
                  <a:pt x="409446" y="336931"/>
                </a:cubicBezTo>
                <a:cubicBezTo>
                  <a:pt x="403476" y="347819"/>
                  <a:pt x="397384" y="359508"/>
                  <a:pt x="391902" y="369249"/>
                </a:cubicBezTo>
                <a:cubicBezTo>
                  <a:pt x="386419" y="378991"/>
                  <a:pt x="381180" y="387013"/>
                  <a:pt x="376551" y="395379"/>
                </a:cubicBezTo>
                <a:cubicBezTo>
                  <a:pt x="371921" y="403745"/>
                  <a:pt x="367900" y="411996"/>
                  <a:pt x="364123" y="419445"/>
                </a:cubicBezTo>
                <a:cubicBezTo>
                  <a:pt x="360347" y="426894"/>
                  <a:pt x="355961" y="434114"/>
                  <a:pt x="353889" y="440074"/>
                </a:cubicBezTo>
                <a:cubicBezTo>
                  <a:pt x="351818" y="446033"/>
                  <a:pt x="352915" y="446721"/>
                  <a:pt x="351696" y="455201"/>
                </a:cubicBezTo>
                <a:cubicBezTo>
                  <a:pt x="350478" y="463682"/>
                  <a:pt x="350478" y="479955"/>
                  <a:pt x="346579" y="490957"/>
                </a:cubicBezTo>
                <a:cubicBezTo>
                  <a:pt x="342681" y="501959"/>
                  <a:pt x="334396" y="515482"/>
                  <a:pt x="328304" y="521212"/>
                </a:cubicBezTo>
                <a:cubicBezTo>
                  <a:pt x="322212" y="526942"/>
                  <a:pt x="313928" y="524650"/>
                  <a:pt x="310029" y="525338"/>
                </a:cubicBezTo>
                <a:cubicBezTo>
                  <a:pt x="310020" y="525339"/>
                  <a:pt x="310012" y="525341"/>
                  <a:pt x="310009" y="525367"/>
                </a:cubicBezTo>
                <a:cubicBezTo>
                  <a:pt x="308545" y="525355"/>
                  <a:pt x="306855" y="525346"/>
                  <a:pt x="304912" y="525338"/>
                </a:cubicBezTo>
                <a:cubicBezTo>
                  <a:pt x="304835" y="525339"/>
                  <a:pt x="164672" y="526484"/>
                  <a:pt x="134588" y="524650"/>
                </a:cubicBezTo>
                <a:lnTo>
                  <a:pt x="124353" y="514336"/>
                </a:lnTo>
                <a:cubicBezTo>
                  <a:pt x="119846" y="510096"/>
                  <a:pt x="113754" y="504480"/>
                  <a:pt x="109002" y="498521"/>
                </a:cubicBezTo>
                <a:cubicBezTo>
                  <a:pt x="104251" y="492562"/>
                  <a:pt x="97915" y="486029"/>
                  <a:pt x="95844" y="478580"/>
                </a:cubicBezTo>
                <a:cubicBezTo>
                  <a:pt x="93773" y="471131"/>
                  <a:pt x="96941" y="461734"/>
                  <a:pt x="96575" y="453826"/>
                </a:cubicBezTo>
                <a:cubicBezTo>
                  <a:pt x="96210" y="445918"/>
                  <a:pt x="95601" y="437552"/>
                  <a:pt x="93651" y="431135"/>
                </a:cubicBezTo>
                <a:cubicBezTo>
                  <a:pt x="91702" y="424717"/>
                  <a:pt x="89143" y="423227"/>
                  <a:pt x="84879" y="415320"/>
                </a:cubicBezTo>
                <a:cubicBezTo>
                  <a:pt x="80615" y="407412"/>
                  <a:pt x="74280" y="394577"/>
                  <a:pt x="68066" y="383689"/>
                </a:cubicBezTo>
                <a:cubicBezTo>
                  <a:pt x="61852" y="372802"/>
                  <a:pt x="54786" y="361915"/>
                  <a:pt x="47598" y="349996"/>
                </a:cubicBezTo>
                <a:cubicBezTo>
                  <a:pt x="40410" y="338077"/>
                  <a:pt x="31272" y="325127"/>
                  <a:pt x="24937" y="312177"/>
                </a:cubicBezTo>
                <a:cubicBezTo>
                  <a:pt x="18601" y="299227"/>
                  <a:pt x="13606" y="285360"/>
                  <a:pt x="9586" y="272296"/>
                </a:cubicBezTo>
                <a:cubicBezTo>
                  <a:pt x="5565" y="259231"/>
                  <a:pt x="2154" y="248917"/>
                  <a:pt x="813" y="233789"/>
                </a:cubicBezTo>
                <a:cubicBezTo>
                  <a:pt x="-527" y="218662"/>
                  <a:pt x="-161" y="197804"/>
                  <a:pt x="1544" y="181531"/>
                </a:cubicBezTo>
                <a:cubicBezTo>
                  <a:pt x="3250" y="165257"/>
                  <a:pt x="5078" y="151390"/>
                  <a:pt x="11048" y="136148"/>
                </a:cubicBezTo>
                <a:cubicBezTo>
                  <a:pt x="17017" y="120906"/>
                  <a:pt x="28226" y="103257"/>
                  <a:pt x="37364" y="90078"/>
                </a:cubicBezTo>
                <a:cubicBezTo>
                  <a:pt x="46501" y="76899"/>
                  <a:pt x="56004" y="66584"/>
                  <a:pt x="65873" y="57072"/>
                </a:cubicBezTo>
                <a:cubicBezTo>
                  <a:pt x="75742" y="47560"/>
                  <a:pt x="86219" y="39882"/>
                  <a:pt x="96575" y="33006"/>
                </a:cubicBezTo>
                <a:cubicBezTo>
                  <a:pt x="106931" y="26130"/>
                  <a:pt x="115703" y="21087"/>
                  <a:pt x="128009" y="15815"/>
                </a:cubicBezTo>
                <a:cubicBezTo>
                  <a:pt x="140314" y="10544"/>
                  <a:pt x="153594" y="4011"/>
                  <a:pt x="170407" y="1375"/>
                </a:cubicBezTo>
                <a:close/>
              </a:path>
            </a:pathLst>
          </a:custGeom>
          <a:solidFill>
            <a:srgbClr val="E06666"/>
          </a:solidFill>
          <a:ln>
            <a:noFill/>
          </a:ln>
        </p:spPr>
        <p:txBody>
          <a:bodyPr spcFirstLastPara="1" wrap="square" lIns="34200" tIns="17100" rIns="34200" bIns="171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6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1" name="Google Shape;486;p30"/>
          <p:cNvSpPr/>
          <p:nvPr/>
        </p:nvSpPr>
        <p:spPr>
          <a:xfrm>
            <a:off x="7776642" y="5536282"/>
            <a:ext cx="430156" cy="661926"/>
          </a:xfrm>
          <a:custGeom>
            <a:avLst/>
            <a:gdLst/>
            <a:ahLst/>
            <a:cxnLst/>
            <a:rect l="l" t="t" r="r" b="b"/>
            <a:pathLst>
              <a:path w="450426" h="693116" extrusionOk="0">
                <a:moveTo>
                  <a:pt x="130202" y="640170"/>
                </a:moveTo>
                <a:lnTo>
                  <a:pt x="322091" y="641201"/>
                </a:lnTo>
                <a:lnTo>
                  <a:pt x="280423" y="676269"/>
                </a:lnTo>
                <a:lnTo>
                  <a:pt x="280423" y="688761"/>
                </a:lnTo>
                <a:cubicBezTo>
                  <a:pt x="280423" y="691166"/>
                  <a:pt x="278350" y="693116"/>
                  <a:pt x="275793" y="693116"/>
                </a:cubicBezTo>
                <a:lnTo>
                  <a:pt x="175402" y="693116"/>
                </a:lnTo>
                <a:cubicBezTo>
                  <a:pt x="172845" y="693116"/>
                  <a:pt x="170772" y="691166"/>
                  <a:pt x="170772" y="688761"/>
                </a:cubicBezTo>
                <a:lnTo>
                  <a:pt x="170772" y="674315"/>
                </a:lnTo>
                <a:close/>
                <a:moveTo>
                  <a:pt x="131179" y="615417"/>
                </a:moveTo>
                <a:lnTo>
                  <a:pt x="318639" y="615417"/>
                </a:lnTo>
                <a:cubicBezTo>
                  <a:pt x="320165" y="615417"/>
                  <a:pt x="321402" y="616580"/>
                  <a:pt x="321402" y="618015"/>
                </a:cubicBezTo>
                <a:lnTo>
                  <a:pt x="321402" y="628411"/>
                </a:lnTo>
                <a:cubicBezTo>
                  <a:pt x="321402" y="629846"/>
                  <a:pt x="320165" y="631010"/>
                  <a:pt x="318639" y="631010"/>
                </a:cubicBezTo>
                <a:lnTo>
                  <a:pt x="131179" y="631010"/>
                </a:lnTo>
                <a:cubicBezTo>
                  <a:pt x="129653" y="631010"/>
                  <a:pt x="128416" y="629846"/>
                  <a:pt x="128416" y="628411"/>
                </a:cubicBezTo>
                <a:lnTo>
                  <a:pt x="128416" y="618015"/>
                </a:lnTo>
                <a:cubicBezTo>
                  <a:pt x="128416" y="616580"/>
                  <a:pt x="129653" y="615417"/>
                  <a:pt x="131179" y="615417"/>
                </a:cubicBezTo>
                <a:close/>
                <a:moveTo>
                  <a:pt x="131179" y="590663"/>
                </a:moveTo>
                <a:lnTo>
                  <a:pt x="318639" y="590663"/>
                </a:lnTo>
                <a:cubicBezTo>
                  <a:pt x="320165" y="590663"/>
                  <a:pt x="321402" y="591826"/>
                  <a:pt x="321402" y="593261"/>
                </a:cubicBezTo>
                <a:lnTo>
                  <a:pt x="321402" y="603657"/>
                </a:lnTo>
                <a:cubicBezTo>
                  <a:pt x="321402" y="605092"/>
                  <a:pt x="320165" y="606256"/>
                  <a:pt x="318639" y="606256"/>
                </a:cubicBezTo>
                <a:lnTo>
                  <a:pt x="131179" y="606256"/>
                </a:lnTo>
                <a:cubicBezTo>
                  <a:pt x="129653" y="606256"/>
                  <a:pt x="128416" y="605092"/>
                  <a:pt x="128416" y="603657"/>
                </a:cubicBezTo>
                <a:lnTo>
                  <a:pt x="128416" y="593261"/>
                </a:lnTo>
                <a:cubicBezTo>
                  <a:pt x="128416" y="591826"/>
                  <a:pt x="129653" y="590663"/>
                  <a:pt x="131179" y="590663"/>
                </a:cubicBezTo>
                <a:close/>
                <a:moveTo>
                  <a:pt x="131179" y="564877"/>
                </a:moveTo>
                <a:lnTo>
                  <a:pt x="318639" y="564877"/>
                </a:lnTo>
                <a:cubicBezTo>
                  <a:pt x="320165" y="564877"/>
                  <a:pt x="321402" y="566040"/>
                  <a:pt x="321402" y="567476"/>
                </a:cubicBezTo>
                <a:lnTo>
                  <a:pt x="321402" y="577871"/>
                </a:lnTo>
                <a:cubicBezTo>
                  <a:pt x="321402" y="579307"/>
                  <a:pt x="320165" y="580470"/>
                  <a:pt x="318639" y="580470"/>
                </a:cubicBezTo>
                <a:lnTo>
                  <a:pt x="131179" y="580470"/>
                </a:lnTo>
                <a:cubicBezTo>
                  <a:pt x="129653" y="580470"/>
                  <a:pt x="128416" y="579307"/>
                  <a:pt x="128416" y="577871"/>
                </a:cubicBezTo>
                <a:lnTo>
                  <a:pt x="128416" y="567476"/>
                </a:lnTo>
                <a:cubicBezTo>
                  <a:pt x="128416" y="566040"/>
                  <a:pt x="129653" y="564877"/>
                  <a:pt x="131179" y="564877"/>
                </a:cubicBezTo>
                <a:close/>
                <a:moveTo>
                  <a:pt x="131179" y="538445"/>
                </a:moveTo>
                <a:lnTo>
                  <a:pt x="318639" y="538445"/>
                </a:lnTo>
                <a:cubicBezTo>
                  <a:pt x="320165" y="538445"/>
                  <a:pt x="321402" y="539608"/>
                  <a:pt x="321402" y="541044"/>
                </a:cubicBezTo>
                <a:lnTo>
                  <a:pt x="321402" y="551439"/>
                </a:lnTo>
                <a:cubicBezTo>
                  <a:pt x="321402" y="552874"/>
                  <a:pt x="320165" y="554038"/>
                  <a:pt x="318639" y="554038"/>
                </a:cubicBezTo>
                <a:lnTo>
                  <a:pt x="131179" y="554038"/>
                </a:lnTo>
                <a:cubicBezTo>
                  <a:pt x="129653" y="554038"/>
                  <a:pt x="128416" y="552874"/>
                  <a:pt x="128416" y="551439"/>
                </a:cubicBezTo>
                <a:lnTo>
                  <a:pt x="128416" y="541044"/>
                </a:lnTo>
                <a:cubicBezTo>
                  <a:pt x="128416" y="539608"/>
                  <a:pt x="129653" y="538445"/>
                  <a:pt x="131179" y="538445"/>
                </a:cubicBezTo>
                <a:close/>
                <a:moveTo>
                  <a:pt x="310009" y="525367"/>
                </a:moveTo>
                <a:lnTo>
                  <a:pt x="317810" y="525494"/>
                </a:lnTo>
                <a:cubicBezTo>
                  <a:pt x="320795" y="525629"/>
                  <a:pt x="311549" y="525739"/>
                  <a:pt x="310009" y="525367"/>
                </a:cubicBezTo>
                <a:close/>
                <a:moveTo>
                  <a:pt x="228887" y="0"/>
                </a:moveTo>
                <a:cubicBezTo>
                  <a:pt x="247650" y="573"/>
                  <a:pt x="264828" y="802"/>
                  <a:pt x="282982" y="4814"/>
                </a:cubicBezTo>
                <a:cubicBezTo>
                  <a:pt x="301135" y="8825"/>
                  <a:pt x="322700" y="16618"/>
                  <a:pt x="337807" y="24067"/>
                </a:cubicBezTo>
                <a:cubicBezTo>
                  <a:pt x="352915" y="31516"/>
                  <a:pt x="361687" y="39309"/>
                  <a:pt x="373626" y="49509"/>
                </a:cubicBezTo>
                <a:cubicBezTo>
                  <a:pt x="385566" y="59708"/>
                  <a:pt x="399455" y="72200"/>
                  <a:pt x="409446" y="85264"/>
                </a:cubicBezTo>
                <a:cubicBezTo>
                  <a:pt x="419436" y="98329"/>
                  <a:pt x="427477" y="114717"/>
                  <a:pt x="433569" y="127897"/>
                </a:cubicBezTo>
                <a:cubicBezTo>
                  <a:pt x="439661" y="141076"/>
                  <a:pt x="443194" y="151619"/>
                  <a:pt x="445996" y="164340"/>
                </a:cubicBezTo>
                <a:cubicBezTo>
                  <a:pt x="448798" y="177061"/>
                  <a:pt x="450748" y="189094"/>
                  <a:pt x="450382" y="204222"/>
                </a:cubicBezTo>
                <a:cubicBezTo>
                  <a:pt x="450017" y="219349"/>
                  <a:pt x="447580" y="238488"/>
                  <a:pt x="443803" y="255105"/>
                </a:cubicBezTo>
                <a:cubicBezTo>
                  <a:pt x="440026" y="271723"/>
                  <a:pt x="433447" y="290288"/>
                  <a:pt x="427721" y="303926"/>
                </a:cubicBezTo>
                <a:cubicBezTo>
                  <a:pt x="421995" y="317564"/>
                  <a:pt x="415416" y="326044"/>
                  <a:pt x="409446" y="336931"/>
                </a:cubicBezTo>
                <a:cubicBezTo>
                  <a:pt x="403476" y="347819"/>
                  <a:pt x="397384" y="359508"/>
                  <a:pt x="391902" y="369249"/>
                </a:cubicBezTo>
                <a:cubicBezTo>
                  <a:pt x="386419" y="378991"/>
                  <a:pt x="381180" y="387013"/>
                  <a:pt x="376551" y="395379"/>
                </a:cubicBezTo>
                <a:cubicBezTo>
                  <a:pt x="371921" y="403745"/>
                  <a:pt x="367900" y="411996"/>
                  <a:pt x="364123" y="419445"/>
                </a:cubicBezTo>
                <a:cubicBezTo>
                  <a:pt x="360347" y="426894"/>
                  <a:pt x="355961" y="434114"/>
                  <a:pt x="353889" y="440074"/>
                </a:cubicBezTo>
                <a:cubicBezTo>
                  <a:pt x="351818" y="446033"/>
                  <a:pt x="352915" y="446721"/>
                  <a:pt x="351696" y="455201"/>
                </a:cubicBezTo>
                <a:cubicBezTo>
                  <a:pt x="350478" y="463682"/>
                  <a:pt x="350478" y="479955"/>
                  <a:pt x="346579" y="490957"/>
                </a:cubicBezTo>
                <a:cubicBezTo>
                  <a:pt x="342681" y="501959"/>
                  <a:pt x="334396" y="515482"/>
                  <a:pt x="328304" y="521212"/>
                </a:cubicBezTo>
                <a:cubicBezTo>
                  <a:pt x="322212" y="526942"/>
                  <a:pt x="313928" y="524650"/>
                  <a:pt x="310029" y="525338"/>
                </a:cubicBezTo>
                <a:cubicBezTo>
                  <a:pt x="310020" y="525339"/>
                  <a:pt x="310012" y="525341"/>
                  <a:pt x="310009" y="525367"/>
                </a:cubicBezTo>
                <a:cubicBezTo>
                  <a:pt x="308545" y="525355"/>
                  <a:pt x="306855" y="525346"/>
                  <a:pt x="304912" y="525338"/>
                </a:cubicBezTo>
                <a:cubicBezTo>
                  <a:pt x="304835" y="525339"/>
                  <a:pt x="164672" y="526484"/>
                  <a:pt x="134588" y="524650"/>
                </a:cubicBezTo>
                <a:lnTo>
                  <a:pt x="124353" y="514336"/>
                </a:lnTo>
                <a:cubicBezTo>
                  <a:pt x="119846" y="510096"/>
                  <a:pt x="113754" y="504480"/>
                  <a:pt x="109002" y="498521"/>
                </a:cubicBezTo>
                <a:cubicBezTo>
                  <a:pt x="104251" y="492562"/>
                  <a:pt x="97915" y="486029"/>
                  <a:pt x="95844" y="478580"/>
                </a:cubicBezTo>
                <a:cubicBezTo>
                  <a:pt x="93773" y="471131"/>
                  <a:pt x="96941" y="461734"/>
                  <a:pt x="96575" y="453826"/>
                </a:cubicBezTo>
                <a:cubicBezTo>
                  <a:pt x="96210" y="445918"/>
                  <a:pt x="95601" y="437552"/>
                  <a:pt x="93651" y="431135"/>
                </a:cubicBezTo>
                <a:cubicBezTo>
                  <a:pt x="91702" y="424717"/>
                  <a:pt x="89143" y="423227"/>
                  <a:pt x="84879" y="415320"/>
                </a:cubicBezTo>
                <a:cubicBezTo>
                  <a:pt x="80615" y="407412"/>
                  <a:pt x="74280" y="394577"/>
                  <a:pt x="68066" y="383689"/>
                </a:cubicBezTo>
                <a:cubicBezTo>
                  <a:pt x="61852" y="372802"/>
                  <a:pt x="54786" y="361915"/>
                  <a:pt x="47598" y="349996"/>
                </a:cubicBezTo>
                <a:cubicBezTo>
                  <a:pt x="40410" y="338077"/>
                  <a:pt x="31272" y="325127"/>
                  <a:pt x="24937" y="312177"/>
                </a:cubicBezTo>
                <a:cubicBezTo>
                  <a:pt x="18601" y="299227"/>
                  <a:pt x="13606" y="285360"/>
                  <a:pt x="9586" y="272296"/>
                </a:cubicBezTo>
                <a:cubicBezTo>
                  <a:pt x="5565" y="259231"/>
                  <a:pt x="2154" y="248917"/>
                  <a:pt x="813" y="233789"/>
                </a:cubicBezTo>
                <a:cubicBezTo>
                  <a:pt x="-527" y="218662"/>
                  <a:pt x="-161" y="197804"/>
                  <a:pt x="1544" y="181531"/>
                </a:cubicBezTo>
                <a:cubicBezTo>
                  <a:pt x="3250" y="165257"/>
                  <a:pt x="5078" y="151390"/>
                  <a:pt x="11048" y="136148"/>
                </a:cubicBezTo>
                <a:cubicBezTo>
                  <a:pt x="17017" y="120906"/>
                  <a:pt x="28226" y="103257"/>
                  <a:pt x="37364" y="90078"/>
                </a:cubicBezTo>
                <a:cubicBezTo>
                  <a:pt x="46501" y="76899"/>
                  <a:pt x="56004" y="66584"/>
                  <a:pt x="65873" y="57072"/>
                </a:cubicBezTo>
                <a:cubicBezTo>
                  <a:pt x="75742" y="47560"/>
                  <a:pt x="86219" y="39882"/>
                  <a:pt x="96575" y="33006"/>
                </a:cubicBezTo>
                <a:cubicBezTo>
                  <a:pt x="106931" y="26130"/>
                  <a:pt x="115703" y="21087"/>
                  <a:pt x="128009" y="15815"/>
                </a:cubicBezTo>
                <a:cubicBezTo>
                  <a:pt x="140314" y="10544"/>
                  <a:pt x="153594" y="4011"/>
                  <a:pt x="170407" y="1375"/>
                </a:cubicBezTo>
                <a:close/>
              </a:path>
            </a:pathLst>
          </a:custGeom>
          <a:solidFill>
            <a:srgbClr val="434343"/>
          </a:solidFill>
          <a:ln>
            <a:noFill/>
          </a:ln>
        </p:spPr>
        <p:txBody>
          <a:bodyPr spcFirstLastPara="1" wrap="square" lIns="34200" tIns="17100" rIns="34200" bIns="171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6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2" name="Google Shape;487;p30"/>
          <p:cNvSpPr/>
          <p:nvPr/>
        </p:nvSpPr>
        <p:spPr>
          <a:xfrm>
            <a:off x="12926704" y="960844"/>
            <a:ext cx="430156" cy="661926"/>
          </a:xfrm>
          <a:custGeom>
            <a:avLst/>
            <a:gdLst/>
            <a:ahLst/>
            <a:cxnLst/>
            <a:rect l="l" t="t" r="r" b="b"/>
            <a:pathLst>
              <a:path w="450426" h="693116" extrusionOk="0">
                <a:moveTo>
                  <a:pt x="130202" y="640170"/>
                </a:moveTo>
                <a:lnTo>
                  <a:pt x="322091" y="641201"/>
                </a:lnTo>
                <a:lnTo>
                  <a:pt x="280423" y="676269"/>
                </a:lnTo>
                <a:lnTo>
                  <a:pt x="280423" y="688761"/>
                </a:lnTo>
                <a:cubicBezTo>
                  <a:pt x="280423" y="691166"/>
                  <a:pt x="278350" y="693116"/>
                  <a:pt x="275793" y="693116"/>
                </a:cubicBezTo>
                <a:lnTo>
                  <a:pt x="175402" y="693116"/>
                </a:lnTo>
                <a:cubicBezTo>
                  <a:pt x="172845" y="693116"/>
                  <a:pt x="170772" y="691166"/>
                  <a:pt x="170772" y="688761"/>
                </a:cubicBezTo>
                <a:lnTo>
                  <a:pt x="170772" y="674315"/>
                </a:lnTo>
                <a:close/>
                <a:moveTo>
                  <a:pt x="131179" y="615417"/>
                </a:moveTo>
                <a:lnTo>
                  <a:pt x="318639" y="615417"/>
                </a:lnTo>
                <a:cubicBezTo>
                  <a:pt x="320165" y="615417"/>
                  <a:pt x="321402" y="616580"/>
                  <a:pt x="321402" y="618015"/>
                </a:cubicBezTo>
                <a:lnTo>
                  <a:pt x="321402" y="628411"/>
                </a:lnTo>
                <a:cubicBezTo>
                  <a:pt x="321402" y="629846"/>
                  <a:pt x="320165" y="631010"/>
                  <a:pt x="318639" y="631010"/>
                </a:cubicBezTo>
                <a:lnTo>
                  <a:pt x="131179" y="631010"/>
                </a:lnTo>
                <a:cubicBezTo>
                  <a:pt x="129653" y="631010"/>
                  <a:pt x="128416" y="629846"/>
                  <a:pt x="128416" y="628411"/>
                </a:cubicBezTo>
                <a:lnTo>
                  <a:pt x="128416" y="618015"/>
                </a:lnTo>
                <a:cubicBezTo>
                  <a:pt x="128416" y="616580"/>
                  <a:pt x="129653" y="615417"/>
                  <a:pt x="131179" y="615417"/>
                </a:cubicBezTo>
                <a:close/>
                <a:moveTo>
                  <a:pt x="131179" y="590663"/>
                </a:moveTo>
                <a:lnTo>
                  <a:pt x="318639" y="590663"/>
                </a:lnTo>
                <a:cubicBezTo>
                  <a:pt x="320165" y="590663"/>
                  <a:pt x="321402" y="591826"/>
                  <a:pt x="321402" y="593261"/>
                </a:cubicBezTo>
                <a:lnTo>
                  <a:pt x="321402" y="603657"/>
                </a:lnTo>
                <a:cubicBezTo>
                  <a:pt x="321402" y="605092"/>
                  <a:pt x="320165" y="606256"/>
                  <a:pt x="318639" y="606256"/>
                </a:cubicBezTo>
                <a:lnTo>
                  <a:pt x="131179" y="606256"/>
                </a:lnTo>
                <a:cubicBezTo>
                  <a:pt x="129653" y="606256"/>
                  <a:pt x="128416" y="605092"/>
                  <a:pt x="128416" y="603657"/>
                </a:cubicBezTo>
                <a:lnTo>
                  <a:pt x="128416" y="593261"/>
                </a:lnTo>
                <a:cubicBezTo>
                  <a:pt x="128416" y="591826"/>
                  <a:pt x="129653" y="590663"/>
                  <a:pt x="131179" y="590663"/>
                </a:cubicBezTo>
                <a:close/>
                <a:moveTo>
                  <a:pt x="131179" y="564877"/>
                </a:moveTo>
                <a:lnTo>
                  <a:pt x="318639" y="564877"/>
                </a:lnTo>
                <a:cubicBezTo>
                  <a:pt x="320165" y="564877"/>
                  <a:pt x="321402" y="566040"/>
                  <a:pt x="321402" y="567476"/>
                </a:cubicBezTo>
                <a:lnTo>
                  <a:pt x="321402" y="577871"/>
                </a:lnTo>
                <a:cubicBezTo>
                  <a:pt x="321402" y="579307"/>
                  <a:pt x="320165" y="580470"/>
                  <a:pt x="318639" y="580470"/>
                </a:cubicBezTo>
                <a:lnTo>
                  <a:pt x="131179" y="580470"/>
                </a:lnTo>
                <a:cubicBezTo>
                  <a:pt x="129653" y="580470"/>
                  <a:pt x="128416" y="579307"/>
                  <a:pt x="128416" y="577871"/>
                </a:cubicBezTo>
                <a:lnTo>
                  <a:pt x="128416" y="567476"/>
                </a:lnTo>
                <a:cubicBezTo>
                  <a:pt x="128416" y="566040"/>
                  <a:pt x="129653" y="564877"/>
                  <a:pt x="131179" y="564877"/>
                </a:cubicBezTo>
                <a:close/>
                <a:moveTo>
                  <a:pt x="131179" y="538445"/>
                </a:moveTo>
                <a:lnTo>
                  <a:pt x="318639" y="538445"/>
                </a:lnTo>
                <a:cubicBezTo>
                  <a:pt x="320165" y="538445"/>
                  <a:pt x="321402" y="539608"/>
                  <a:pt x="321402" y="541044"/>
                </a:cubicBezTo>
                <a:lnTo>
                  <a:pt x="321402" y="551439"/>
                </a:lnTo>
                <a:cubicBezTo>
                  <a:pt x="321402" y="552874"/>
                  <a:pt x="320165" y="554038"/>
                  <a:pt x="318639" y="554038"/>
                </a:cubicBezTo>
                <a:lnTo>
                  <a:pt x="131179" y="554038"/>
                </a:lnTo>
                <a:cubicBezTo>
                  <a:pt x="129653" y="554038"/>
                  <a:pt x="128416" y="552874"/>
                  <a:pt x="128416" y="551439"/>
                </a:cubicBezTo>
                <a:lnTo>
                  <a:pt x="128416" y="541044"/>
                </a:lnTo>
                <a:cubicBezTo>
                  <a:pt x="128416" y="539608"/>
                  <a:pt x="129653" y="538445"/>
                  <a:pt x="131179" y="538445"/>
                </a:cubicBezTo>
                <a:close/>
                <a:moveTo>
                  <a:pt x="310009" y="525367"/>
                </a:moveTo>
                <a:lnTo>
                  <a:pt x="317810" y="525494"/>
                </a:lnTo>
                <a:cubicBezTo>
                  <a:pt x="320795" y="525629"/>
                  <a:pt x="311549" y="525739"/>
                  <a:pt x="310009" y="525367"/>
                </a:cubicBezTo>
                <a:close/>
                <a:moveTo>
                  <a:pt x="228887" y="0"/>
                </a:moveTo>
                <a:cubicBezTo>
                  <a:pt x="247650" y="573"/>
                  <a:pt x="264828" y="802"/>
                  <a:pt x="282982" y="4814"/>
                </a:cubicBezTo>
                <a:cubicBezTo>
                  <a:pt x="301135" y="8825"/>
                  <a:pt x="322700" y="16618"/>
                  <a:pt x="337807" y="24067"/>
                </a:cubicBezTo>
                <a:cubicBezTo>
                  <a:pt x="352915" y="31516"/>
                  <a:pt x="361687" y="39309"/>
                  <a:pt x="373626" y="49509"/>
                </a:cubicBezTo>
                <a:cubicBezTo>
                  <a:pt x="385566" y="59708"/>
                  <a:pt x="399455" y="72200"/>
                  <a:pt x="409446" y="85264"/>
                </a:cubicBezTo>
                <a:cubicBezTo>
                  <a:pt x="419436" y="98329"/>
                  <a:pt x="427477" y="114717"/>
                  <a:pt x="433569" y="127897"/>
                </a:cubicBezTo>
                <a:cubicBezTo>
                  <a:pt x="439661" y="141076"/>
                  <a:pt x="443194" y="151619"/>
                  <a:pt x="445996" y="164340"/>
                </a:cubicBezTo>
                <a:cubicBezTo>
                  <a:pt x="448798" y="177061"/>
                  <a:pt x="450748" y="189094"/>
                  <a:pt x="450382" y="204222"/>
                </a:cubicBezTo>
                <a:cubicBezTo>
                  <a:pt x="450017" y="219349"/>
                  <a:pt x="447580" y="238488"/>
                  <a:pt x="443803" y="255105"/>
                </a:cubicBezTo>
                <a:cubicBezTo>
                  <a:pt x="440026" y="271723"/>
                  <a:pt x="433447" y="290288"/>
                  <a:pt x="427721" y="303926"/>
                </a:cubicBezTo>
                <a:cubicBezTo>
                  <a:pt x="421995" y="317564"/>
                  <a:pt x="415416" y="326044"/>
                  <a:pt x="409446" y="336931"/>
                </a:cubicBezTo>
                <a:cubicBezTo>
                  <a:pt x="403476" y="347819"/>
                  <a:pt x="397384" y="359508"/>
                  <a:pt x="391902" y="369249"/>
                </a:cubicBezTo>
                <a:cubicBezTo>
                  <a:pt x="386419" y="378991"/>
                  <a:pt x="381180" y="387013"/>
                  <a:pt x="376551" y="395379"/>
                </a:cubicBezTo>
                <a:cubicBezTo>
                  <a:pt x="371921" y="403745"/>
                  <a:pt x="367900" y="411996"/>
                  <a:pt x="364123" y="419445"/>
                </a:cubicBezTo>
                <a:cubicBezTo>
                  <a:pt x="360347" y="426894"/>
                  <a:pt x="355961" y="434114"/>
                  <a:pt x="353889" y="440074"/>
                </a:cubicBezTo>
                <a:cubicBezTo>
                  <a:pt x="351818" y="446033"/>
                  <a:pt x="352915" y="446721"/>
                  <a:pt x="351696" y="455201"/>
                </a:cubicBezTo>
                <a:cubicBezTo>
                  <a:pt x="350478" y="463682"/>
                  <a:pt x="350478" y="479955"/>
                  <a:pt x="346579" y="490957"/>
                </a:cubicBezTo>
                <a:cubicBezTo>
                  <a:pt x="342681" y="501959"/>
                  <a:pt x="334396" y="515482"/>
                  <a:pt x="328304" y="521212"/>
                </a:cubicBezTo>
                <a:cubicBezTo>
                  <a:pt x="322212" y="526942"/>
                  <a:pt x="313928" y="524650"/>
                  <a:pt x="310029" y="525338"/>
                </a:cubicBezTo>
                <a:cubicBezTo>
                  <a:pt x="310020" y="525339"/>
                  <a:pt x="310012" y="525341"/>
                  <a:pt x="310009" y="525367"/>
                </a:cubicBezTo>
                <a:cubicBezTo>
                  <a:pt x="308545" y="525355"/>
                  <a:pt x="306855" y="525346"/>
                  <a:pt x="304912" y="525338"/>
                </a:cubicBezTo>
                <a:cubicBezTo>
                  <a:pt x="304835" y="525339"/>
                  <a:pt x="164672" y="526484"/>
                  <a:pt x="134588" y="524650"/>
                </a:cubicBezTo>
                <a:lnTo>
                  <a:pt x="124353" y="514336"/>
                </a:lnTo>
                <a:cubicBezTo>
                  <a:pt x="119846" y="510096"/>
                  <a:pt x="113754" y="504480"/>
                  <a:pt x="109002" y="498521"/>
                </a:cubicBezTo>
                <a:cubicBezTo>
                  <a:pt x="104251" y="492562"/>
                  <a:pt x="97915" y="486029"/>
                  <a:pt x="95844" y="478580"/>
                </a:cubicBezTo>
                <a:cubicBezTo>
                  <a:pt x="93773" y="471131"/>
                  <a:pt x="96941" y="461734"/>
                  <a:pt x="96575" y="453826"/>
                </a:cubicBezTo>
                <a:cubicBezTo>
                  <a:pt x="96210" y="445918"/>
                  <a:pt x="95601" y="437552"/>
                  <a:pt x="93651" y="431135"/>
                </a:cubicBezTo>
                <a:cubicBezTo>
                  <a:pt x="91702" y="424717"/>
                  <a:pt x="89143" y="423227"/>
                  <a:pt x="84879" y="415320"/>
                </a:cubicBezTo>
                <a:cubicBezTo>
                  <a:pt x="80615" y="407412"/>
                  <a:pt x="74280" y="394577"/>
                  <a:pt x="68066" y="383689"/>
                </a:cubicBezTo>
                <a:cubicBezTo>
                  <a:pt x="61852" y="372802"/>
                  <a:pt x="54786" y="361915"/>
                  <a:pt x="47598" y="349996"/>
                </a:cubicBezTo>
                <a:cubicBezTo>
                  <a:pt x="40410" y="338077"/>
                  <a:pt x="31272" y="325127"/>
                  <a:pt x="24937" y="312177"/>
                </a:cubicBezTo>
                <a:cubicBezTo>
                  <a:pt x="18601" y="299227"/>
                  <a:pt x="13606" y="285360"/>
                  <a:pt x="9586" y="272296"/>
                </a:cubicBezTo>
                <a:cubicBezTo>
                  <a:pt x="5565" y="259231"/>
                  <a:pt x="2154" y="248917"/>
                  <a:pt x="813" y="233789"/>
                </a:cubicBezTo>
                <a:cubicBezTo>
                  <a:pt x="-527" y="218662"/>
                  <a:pt x="-161" y="197804"/>
                  <a:pt x="1544" y="181531"/>
                </a:cubicBezTo>
                <a:cubicBezTo>
                  <a:pt x="3250" y="165257"/>
                  <a:pt x="5078" y="151390"/>
                  <a:pt x="11048" y="136148"/>
                </a:cubicBezTo>
                <a:cubicBezTo>
                  <a:pt x="17017" y="120906"/>
                  <a:pt x="28226" y="103257"/>
                  <a:pt x="37364" y="90078"/>
                </a:cubicBezTo>
                <a:cubicBezTo>
                  <a:pt x="46501" y="76899"/>
                  <a:pt x="56004" y="66584"/>
                  <a:pt x="65873" y="57072"/>
                </a:cubicBezTo>
                <a:cubicBezTo>
                  <a:pt x="75742" y="47560"/>
                  <a:pt x="86219" y="39882"/>
                  <a:pt x="96575" y="33006"/>
                </a:cubicBezTo>
                <a:cubicBezTo>
                  <a:pt x="106931" y="26130"/>
                  <a:pt x="115703" y="21087"/>
                  <a:pt x="128009" y="15815"/>
                </a:cubicBezTo>
                <a:cubicBezTo>
                  <a:pt x="140314" y="10544"/>
                  <a:pt x="153594" y="4011"/>
                  <a:pt x="170407" y="1375"/>
                </a:cubicBezTo>
                <a:close/>
              </a:path>
            </a:pathLst>
          </a:custGeom>
          <a:solidFill>
            <a:srgbClr val="13A89C"/>
          </a:solidFill>
          <a:ln>
            <a:noFill/>
          </a:ln>
        </p:spPr>
        <p:txBody>
          <a:bodyPr spcFirstLastPara="1" wrap="square" lIns="34200" tIns="17100" rIns="34200" bIns="171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6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3" name="Google Shape;481;p30">
            <a:extLst>
              <a:ext uri="{FF2B5EF4-FFF2-40B4-BE49-F238E27FC236}">
                <a16:creationId xmlns:a16="http://schemas.microsoft.com/office/drawing/2014/main" id="{72366353-3CB9-604C-8DB2-3738477F6ECE}"/>
              </a:ext>
            </a:extLst>
          </p:cNvPr>
          <p:cNvSpPr/>
          <p:nvPr/>
        </p:nvSpPr>
        <p:spPr>
          <a:xfrm>
            <a:off x="13356860" y="942347"/>
            <a:ext cx="4281000" cy="3974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>
                <a:solidFill>
                  <a:srgbClr val="13A89C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Hệ thống giao diện tích hợp 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Cung cấp </a:t>
            </a:r>
            <a:r>
              <a:rPr lang="en-US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API </a:t>
            </a:r>
            <a:r>
              <a:rPr lang="vi-VN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dễ dàng tích hợp</a:t>
            </a:r>
            <a:endParaRPr lang="en-US" sz="260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60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vi-VN" sz="2600">
                <a:solidFill>
                  <a:srgbClr val="666666"/>
                </a:solidFill>
                <a:latin typeface="Verdana" panose="020B0604030504040204" pitchFamily="34" charset="0"/>
                <a:ea typeface="Verdana" panose="020B0604030504040204" pitchFamily="34" charset="0"/>
                <a:cs typeface="Oswald"/>
                <a:sym typeface="Oswald"/>
              </a:rPr>
              <a:t>Đảm bảo tốc độ nhanh và chất lượng cao</a:t>
            </a:r>
            <a:endParaRPr sz="2600" dirty="0">
              <a:solidFill>
                <a:srgbClr val="666666"/>
              </a:solidFill>
              <a:latin typeface="Verdana" panose="020B0604030504040204" pitchFamily="34" charset="0"/>
              <a:ea typeface="Verdana" panose="020B0604030504040204" pitchFamily="34" charset="0"/>
              <a:cs typeface="Oswald"/>
              <a:sym typeface="Oswald"/>
            </a:endParaRPr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8A2FBAB6-1233-B04B-99A4-228B5F0B4F8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42" y="2113476"/>
            <a:ext cx="6736335" cy="505225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0341865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uồ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h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í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Google Shape;528;p31"/>
          <p:cNvSpPr/>
          <p:nvPr/>
        </p:nvSpPr>
        <p:spPr>
          <a:xfrm>
            <a:off x="9659770" y="3039450"/>
            <a:ext cx="42024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vi"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Team nghiên cứu</a:t>
            </a:r>
            <a:endParaRPr sz="2400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" name="Google Shape;529;p31"/>
          <p:cNvSpPr/>
          <p:nvPr/>
        </p:nvSpPr>
        <p:spPr>
          <a:xfrm>
            <a:off x="14691006" y="42111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" name="Google Shape;530;p31"/>
          <p:cNvSpPr/>
          <p:nvPr/>
        </p:nvSpPr>
        <p:spPr>
          <a:xfrm>
            <a:off x="14691006" y="532100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" name="Google Shape;531;p31"/>
          <p:cNvSpPr/>
          <p:nvPr/>
        </p:nvSpPr>
        <p:spPr>
          <a:xfrm>
            <a:off x="14665306" y="30860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7" name="Google Shape;532;p31"/>
          <p:cNvSpPr txBox="1"/>
          <p:nvPr/>
        </p:nvSpPr>
        <p:spPr>
          <a:xfrm>
            <a:off x="3356700" y="1671750"/>
            <a:ext cx="5038200" cy="86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CC0000"/>
                </a:solidFill>
                <a:latin typeface="Roboto"/>
                <a:ea typeface="Roboto"/>
                <a:cs typeface="Roboto"/>
                <a:sym typeface="Roboto"/>
              </a:rPr>
              <a:t>Công việc</a:t>
            </a:r>
            <a:endParaRPr sz="3200" b="1" dirty="0">
              <a:solidFill>
                <a:srgbClr val="CC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" name="Google Shape;533;p31"/>
          <p:cNvSpPr txBox="1"/>
          <p:nvPr/>
        </p:nvSpPr>
        <p:spPr>
          <a:xfrm>
            <a:off x="8993100" y="1671751"/>
            <a:ext cx="4869000" cy="1354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Cá nhân, tổ chức</a:t>
            </a:r>
            <a:endParaRPr sz="3200" b="1" dirty="0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thực hiện</a:t>
            </a:r>
            <a:endParaRPr sz="3200" b="1" dirty="0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" name="Google Shape;534;p31"/>
          <p:cNvSpPr txBox="1"/>
          <p:nvPr/>
        </p:nvSpPr>
        <p:spPr>
          <a:xfrm>
            <a:off x="13893400" y="1671751"/>
            <a:ext cx="4202400" cy="1354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FF9900"/>
                </a:solidFill>
                <a:latin typeface="Roboto"/>
                <a:ea typeface="Roboto"/>
                <a:cs typeface="Roboto"/>
                <a:sym typeface="Roboto"/>
              </a:rPr>
              <a:t>Dự kiến kinh phí</a:t>
            </a:r>
            <a:endParaRPr sz="3200" b="1" dirty="0">
              <a:solidFill>
                <a:srgbClr val="FF9900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FF9900"/>
                </a:solidFill>
                <a:latin typeface="Roboto"/>
                <a:ea typeface="Roboto"/>
                <a:cs typeface="Roboto"/>
                <a:sym typeface="Roboto"/>
              </a:rPr>
              <a:t>(triệu đồng)</a:t>
            </a:r>
            <a:endParaRPr sz="3200" b="1" dirty="0">
              <a:solidFill>
                <a:srgbClr val="FF99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38" name="Google Shape;551;p31"/>
          <p:cNvGrpSpPr/>
          <p:nvPr/>
        </p:nvGrpSpPr>
        <p:grpSpPr>
          <a:xfrm>
            <a:off x="13949751" y="3038502"/>
            <a:ext cx="627950" cy="646200"/>
            <a:chOff x="656" y="6773"/>
            <a:chExt cx="380" cy="366"/>
          </a:xfrm>
        </p:grpSpPr>
        <p:sp>
          <p:nvSpPr>
            <p:cNvPr id="39" name="Google Shape;552;p31"/>
            <p:cNvSpPr/>
            <p:nvPr/>
          </p:nvSpPr>
          <p:spPr>
            <a:xfrm>
              <a:off x="686" y="7040"/>
              <a:ext cx="111" cy="64"/>
            </a:xfrm>
            <a:custGeom>
              <a:avLst/>
              <a:gdLst/>
              <a:ahLst/>
              <a:cxnLst/>
              <a:rect l="l" t="t" r="r" b="b"/>
              <a:pathLst>
                <a:path w="1009" h="586" extrusionOk="0">
                  <a:moveTo>
                    <a:pt x="33" y="0"/>
                  </a:moveTo>
                  <a:lnTo>
                    <a:pt x="44" y="4"/>
                  </a:lnTo>
                  <a:lnTo>
                    <a:pt x="53" y="11"/>
                  </a:lnTo>
                  <a:lnTo>
                    <a:pt x="58" y="21"/>
                  </a:lnTo>
                  <a:lnTo>
                    <a:pt x="72" y="57"/>
                  </a:lnTo>
                  <a:lnTo>
                    <a:pt x="92" y="93"/>
                  </a:lnTo>
                  <a:lnTo>
                    <a:pt x="118" y="129"/>
                  </a:lnTo>
                  <a:lnTo>
                    <a:pt x="150" y="164"/>
                  </a:lnTo>
                  <a:lnTo>
                    <a:pt x="184" y="200"/>
                  </a:lnTo>
                  <a:lnTo>
                    <a:pt x="223" y="234"/>
                  </a:lnTo>
                  <a:lnTo>
                    <a:pt x="263" y="268"/>
                  </a:lnTo>
                  <a:lnTo>
                    <a:pt x="306" y="299"/>
                  </a:lnTo>
                  <a:lnTo>
                    <a:pt x="348" y="328"/>
                  </a:lnTo>
                  <a:lnTo>
                    <a:pt x="391" y="356"/>
                  </a:lnTo>
                  <a:lnTo>
                    <a:pt x="432" y="380"/>
                  </a:lnTo>
                  <a:lnTo>
                    <a:pt x="490" y="410"/>
                  </a:lnTo>
                  <a:lnTo>
                    <a:pt x="551" y="436"/>
                  </a:lnTo>
                  <a:lnTo>
                    <a:pt x="613" y="458"/>
                  </a:lnTo>
                  <a:lnTo>
                    <a:pt x="674" y="477"/>
                  </a:lnTo>
                  <a:lnTo>
                    <a:pt x="733" y="491"/>
                  </a:lnTo>
                  <a:lnTo>
                    <a:pt x="791" y="503"/>
                  </a:lnTo>
                  <a:lnTo>
                    <a:pt x="845" y="512"/>
                  </a:lnTo>
                  <a:lnTo>
                    <a:pt x="896" y="518"/>
                  </a:lnTo>
                  <a:lnTo>
                    <a:pt x="942" y="524"/>
                  </a:lnTo>
                  <a:lnTo>
                    <a:pt x="981" y="527"/>
                  </a:lnTo>
                  <a:lnTo>
                    <a:pt x="993" y="530"/>
                  </a:lnTo>
                  <a:lnTo>
                    <a:pt x="1001" y="537"/>
                  </a:lnTo>
                  <a:lnTo>
                    <a:pt x="1008" y="547"/>
                  </a:lnTo>
                  <a:lnTo>
                    <a:pt x="1009" y="559"/>
                  </a:lnTo>
                  <a:lnTo>
                    <a:pt x="1006" y="570"/>
                  </a:lnTo>
                  <a:lnTo>
                    <a:pt x="999" y="578"/>
                  </a:lnTo>
                  <a:lnTo>
                    <a:pt x="990" y="584"/>
                  </a:lnTo>
                  <a:lnTo>
                    <a:pt x="979" y="586"/>
                  </a:lnTo>
                  <a:lnTo>
                    <a:pt x="977" y="586"/>
                  </a:lnTo>
                  <a:lnTo>
                    <a:pt x="940" y="583"/>
                  </a:lnTo>
                  <a:lnTo>
                    <a:pt x="897" y="579"/>
                  </a:lnTo>
                  <a:lnTo>
                    <a:pt x="849" y="573"/>
                  </a:lnTo>
                  <a:lnTo>
                    <a:pt x="799" y="564"/>
                  </a:lnTo>
                  <a:lnTo>
                    <a:pt x="746" y="555"/>
                  </a:lnTo>
                  <a:lnTo>
                    <a:pt x="690" y="541"/>
                  </a:lnTo>
                  <a:lnTo>
                    <a:pt x="633" y="526"/>
                  </a:lnTo>
                  <a:lnTo>
                    <a:pt x="574" y="508"/>
                  </a:lnTo>
                  <a:lnTo>
                    <a:pt x="516" y="486"/>
                  </a:lnTo>
                  <a:lnTo>
                    <a:pt x="459" y="460"/>
                  </a:lnTo>
                  <a:lnTo>
                    <a:pt x="402" y="431"/>
                  </a:lnTo>
                  <a:lnTo>
                    <a:pt x="356" y="404"/>
                  </a:lnTo>
                  <a:lnTo>
                    <a:pt x="310" y="374"/>
                  </a:lnTo>
                  <a:lnTo>
                    <a:pt x="264" y="342"/>
                  </a:lnTo>
                  <a:lnTo>
                    <a:pt x="219" y="309"/>
                  </a:lnTo>
                  <a:lnTo>
                    <a:pt x="176" y="272"/>
                  </a:lnTo>
                  <a:lnTo>
                    <a:pt x="135" y="235"/>
                  </a:lnTo>
                  <a:lnTo>
                    <a:pt x="99" y="197"/>
                  </a:lnTo>
                  <a:lnTo>
                    <a:pt x="66" y="157"/>
                  </a:lnTo>
                  <a:lnTo>
                    <a:pt x="38" y="117"/>
                  </a:lnTo>
                  <a:lnTo>
                    <a:pt x="16" y="78"/>
                  </a:lnTo>
                  <a:lnTo>
                    <a:pt x="1" y="38"/>
                  </a:lnTo>
                  <a:lnTo>
                    <a:pt x="0" y="27"/>
                  </a:lnTo>
                  <a:lnTo>
                    <a:pt x="3" y="15"/>
                  </a:lnTo>
                  <a:lnTo>
                    <a:pt x="11" y="7"/>
                  </a:lnTo>
                  <a:lnTo>
                    <a:pt x="21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182850" tIns="91400" rIns="182850" bIns="91400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9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553;p31"/>
            <p:cNvSpPr/>
            <p:nvPr/>
          </p:nvSpPr>
          <p:spPr>
            <a:xfrm>
              <a:off x="656" y="6773"/>
              <a:ext cx="380" cy="366"/>
            </a:xfrm>
            <a:custGeom>
              <a:avLst/>
              <a:gdLst/>
              <a:ahLst/>
              <a:cxnLst/>
              <a:rect l="l" t="t" r="r" b="b"/>
              <a:pathLst>
                <a:path w="3452" h="3323" extrusionOk="0">
                  <a:moveTo>
                    <a:pt x="224" y="2163"/>
                  </a:moveTo>
                  <a:lnTo>
                    <a:pt x="192" y="2207"/>
                  </a:lnTo>
                  <a:lnTo>
                    <a:pt x="165" y="2252"/>
                  </a:lnTo>
                  <a:lnTo>
                    <a:pt x="146" y="2297"/>
                  </a:lnTo>
                  <a:lnTo>
                    <a:pt x="131" y="2342"/>
                  </a:lnTo>
                  <a:lnTo>
                    <a:pt x="121" y="2388"/>
                  </a:lnTo>
                  <a:lnTo>
                    <a:pt x="119" y="2433"/>
                  </a:lnTo>
                  <a:lnTo>
                    <a:pt x="123" y="2482"/>
                  </a:lnTo>
                  <a:lnTo>
                    <a:pt x="132" y="2531"/>
                  </a:lnTo>
                  <a:lnTo>
                    <a:pt x="149" y="2579"/>
                  </a:lnTo>
                  <a:lnTo>
                    <a:pt x="172" y="2627"/>
                  </a:lnTo>
                  <a:lnTo>
                    <a:pt x="201" y="2674"/>
                  </a:lnTo>
                  <a:lnTo>
                    <a:pt x="237" y="2720"/>
                  </a:lnTo>
                  <a:lnTo>
                    <a:pt x="279" y="2764"/>
                  </a:lnTo>
                  <a:lnTo>
                    <a:pt x="326" y="2808"/>
                  </a:lnTo>
                  <a:lnTo>
                    <a:pt x="379" y="2850"/>
                  </a:lnTo>
                  <a:lnTo>
                    <a:pt x="438" y="2890"/>
                  </a:lnTo>
                  <a:lnTo>
                    <a:pt x="503" y="2930"/>
                  </a:lnTo>
                  <a:lnTo>
                    <a:pt x="574" y="2966"/>
                  </a:lnTo>
                  <a:lnTo>
                    <a:pt x="652" y="3004"/>
                  </a:lnTo>
                  <a:lnTo>
                    <a:pt x="735" y="3038"/>
                  </a:lnTo>
                  <a:lnTo>
                    <a:pt x="822" y="3069"/>
                  </a:lnTo>
                  <a:lnTo>
                    <a:pt x="912" y="3097"/>
                  </a:lnTo>
                  <a:lnTo>
                    <a:pt x="1005" y="3121"/>
                  </a:lnTo>
                  <a:lnTo>
                    <a:pt x="1102" y="3143"/>
                  </a:lnTo>
                  <a:lnTo>
                    <a:pt x="1200" y="3162"/>
                  </a:lnTo>
                  <a:lnTo>
                    <a:pt x="1302" y="3176"/>
                  </a:lnTo>
                  <a:lnTo>
                    <a:pt x="1404" y="3189"/>
                  </a:lnTo>
                  <a:lnTo>
                    <a:pt x="1510" y="3197"/>
                  </a:lnTo>
                  <a:lnTo>
                    <a:pt x="1617" y="3203"/>
                  </a:lnTo>
                  <a:lnTo>
                    <a:pt x="1726" y="3205"/>
                  </a:lnTo>
                  <a:lnTo>
                    <a:pt x="1834" y="3203"/>
                  </a:lnTo>
                  <a:lnTo>
                    <a:pt x="1941" y="3197"/>
                  </a:lnTo>
                  <a:lnTo>
                    <a:pt x="2046" y="3189"/>
                  </a:lnTo>
                  <a:lnTo>
                    <a:pt x="2150" y="3176"/>
                  </a:lnTo>
                  <a:lnTo>
                    <a:pt x="2252" y="3162"/>
                  </a:lnTo>
                  <a:lnTo>
                    <a:pt x="2350" y="3143"/>
                  </a:lnTo>
                  <a:lnTo>
                    <a:pt x="2446" y="3121"/>
                  </a:lnTo>
                  <a:lnTo>
                    <a:pt x="2540" y="3097"/>
                  </a:lnTo>
                  <a:lnTo>
                    <a:pt x="2629" y="3069"/>
                  </a:lnTo>
                  <a:lnTo>
                    <a:pt x="2716" y="3038"/>
                  </a:lnTo>
                  <a:lnTo>
                    <a:pt x="2798" y="3004"/>
                  </a:lnTo>
                  <a:lnTo>
                    <a:pt x="2877" y="2966"/>
                  </a:lnTo>
                  <a:lnTo>
                    <a:pt x="2948" y="2930"/>
                  </a:lnTo>
                  <a:lnTo>
                    <a:pt x="3013" y="2890"/>
                  </a:lnTo>
                  <a:lnTo>
                    <a:pt x="3072" y="2850"/>
                  </a:lnTo>
                  <a:lnTo>
                    <a:pt x="3125" y="2808"/>
                  </a:lnTo>
                  <a:lnTo>
                    <a:pt x="3172" y="2764"/>
                  </a:lnTo>
                  <a:lnTo>
                    <a:pt x="3214" y="2720"/>
                  </a:lnTo>
                  <a:lnTo>
                    <a:pt x="3250" y="2674"/>
                  </a:lnTo>
                  <a:lnTo>
                    <a:pt x="3279" y="2627"/>
                  </a:lnTo>
                  <a:lnTo>
                    <a:pt x="3302" y="2579"/>
                  </a:lnTo>
                  <a:lnTo>
                    <a:pt x="3319" y="2531"/>
                  </a:lnTo>
                  <a:lnTo>
                    <a:pt x="3328" y="2482"/>
                  </a:lnTo>
                  <a:lnTo>
                    <a:pt x="3331" y="2433"/>
                  </a:lnTo>
                  <a:lnTo>
                    <a:pt x="3329" y="2388"/>
                  </a:lnTo>
                  <a:lnTo>
                    <a:pt x="3320" y="2342"/>
                  </a:lnTo>
                  <a:lnTo>
                    <a:pt x="3305" y="2297"/>
                  </a:lnTo>
                  <a:lnTo>
                    <a:pt x="3284" y="2252"/>
                  </a:lnTo>
                  <a:lnTo>
                    <a:pt x="3257" y="2207"/>
                  </a:lnTo>
                  <a:lnTo>
                    <a:pt x="3225" y="2163"/>
                  </a:lnTo>
                  <a:lnTo>
                    <a:pt x="3175" y="2206"/>
                  </a:lnTo>
                  <a:lnTo>
                    <a:pt x="3121" y="2247"/>
                  </a:lnTo>
                  <a:lnTo>
                    <a:pt x="3061" y="2287"/>
                  </a:lnTo>
                  <a:lnTo>
                    <a:pt x="2997" y="2324"/>
                  </a:lnTo>
                  <a:lnTo>
                    <a:pt x="2928" y="2361"/>
                  </a:lnTo>
                  <a:lnTo>
                    <a:pt x="2845" y="2399"/>
                  </a:lnTo>
                  <a:lnTo>
                    <a:pt x="2759" y="2435"/>
                  </a:lnTo>
                  <a:lnTo>
                    <a:pt x="2668" y="2467"/>
                  </a:lnTo>
                  <a:lnTo>
                    <a:pt x="2574" y="2496"/>
                  </a:lnTo>
                  <a:lnTo>
                    <a:pt x="2477" y="2523"/>
                  </a:lnTo>
                  <a:lnTo>
                    <a:pt x="2376" y="2546"/>
                  </a:lnTo>
                  <a:lnTo>
                    <a:pt x="2273" y="2564"/>
                  </a:lnTo>
                  <a:lnTo>
                    <a:pt x="2167" y="2581"/>
                  </a:lnTo>
                  <a:lnTo>
                    <a:pt x="2059" y="2594"/>
                  </a:lnTo>
                  <a:lnTo>
                    <a:pt x="1949" y="2602"/>
                  </a:lnTo>
                  <a:lnTo>
                    <a:pt x="1837" y="2608"/>
                  </a:lnTo>
                  <a:lnTo>
                    <a:pt x="1724" y="2609"/>
                  </a:lnTo>
                  <a:lnTo>
                    <a:pt x="1612" y="2608"/>
                  </a:lnTo>
                  <a:lnTo>
                    <a:pt x="1500" y="2603"/>
                  </a:lnTo>
                  <a:lnTo>
                    <a:pt x="1390" y="2594"/>
                  </a:lnTo>
                  <a:lnTo>
                    <a:pt x="1282" y="2581"/>
                  </a:lnTo>
                  <a:lnTo>
                    <a:pt x="1176" y="2565"/>
                  </a:lnTo>
                  <a:lnTo>
                    <a:pt x="1073" y="2546"/>
                  </a:lnTo>
                  <a:lnTo>
                    <a:pt x="972" y="2523"/>
                  </a:lnTo>
                  <a:lnTo>
                    <a:pt x="874" y="2496"/>
                  </a:lnTo>
                  <a:lnTo>
                    <a:pt x="780" y="2467"/>
                  </a:lnTo>
                  <a:lnTo>
                    <a:pt x="690" y="2435"/>
                  </a:lnTo>
                  <a:lnTo>
                    <a:pt x="603" y="2399"/>
                  </a:lnTo>
                  <a:lnTo>
                    <a:pt x="520" y="2361"/>
                  </a:lnTo>
                  <a:lnTo>
                    <a:pt x="451" y="2324"/>
                  </a:lnTo>
                  <a:lnTo>
                    <a:pt x="387" y="2287"/>
                  </a:lnTo>
                  <a:lnTo>
                    <a:pt x="329" y="2247"/>
                  </a:lnTo>
                  <a:lnTo>
                    <a:pt x="273" y="2206"/>
                  </a:lnTo>
                  <a:lnTo>
                    <a:pt x="224" y="2163"/>
                  </a:lnTo>
                  <a:close/>
                  <a:moveTo>
                    <a:pt x="3166" y="1384"/>
                  </a:moveTo>
                  <a:lnTo>
                    <a:pt x="3114" y="1423"/>
                  </a:lnTo>
                  <a:lnTo>
                    <a:pt x="3056" y="1460"/>
                  </a:lnTo>
                  <a:lnTo>
                    <a:pt x="2995" y="1497"/>
                  </a:lnTo>
                  <a:lnTo>
                    <a:pt x="2929" y="1531"/>
                  </a:lnTo>
                  <a:lnTo>
                    <a:pt x="2846" y="1570"/>
                  </a:lnTo>
                  <a:lnTo>
                    <a:pt x="2760" y="1605"/>
                  </a:lnTo>
                  <a:lnTo>
                    <a:pt x="2669" y="1638"/>
                  </a:lnTo>
                  <a:lnTo>
                    <a:pt x="2575" y="1667"/>
                  </a:lnTo>
                  <a:lnTo>
                    <a:pt x="2478" y="1693"/>
                  </a:lnTo>
                  <a:lnTo>
                    <a:pt x="2377" y="1715"/>
                  </a:lnTo>
                  <a:lnTo>
                    <a:pt x="2274" y="1735"/>
                  </a:lnTo>
                  <a:lnTo>
                    <a:pt x="2168" y="1752"/>
                  </a:lnTo>
                  <a:lnTo>
                    <a:pt x="2060" y="1764"/>
                  </a:lnTo>
                  <a:lnTo>
                    <a:pt x="1950" y="1773"/>
                  </a:lnTo>
                  <a:lnTo>
                    <a:pt x="1838" y="1779"/>
                  </a:lnTo>
                  <a:lnTo>
                    <a:pt x="1726" y="1780"/>
                  </a:lnTo>
                  <a:lnTo>
                    <a:pt x="1613" y="1779"/>
                  </a:lnTo>
                  <a:lnTo>
                    <a:pt x="1501" y="1773"/>
                  </a:lnTo>
                  <a:lnTo>
                    <a:pt x="1392" y="1764"/>
                  </a:lnTo>
                  <a:lnTo>
                    <a:pt x="1283" y="1752"/>
                  </a:lnTo>
                  <a:lnTo>
                    <a:pt x="1177" y="1735"/>
                  </a:lnTo>
                  <a:lnTo>
                    <a:pt x="1075" y="1716"/>
                  </a:lnTo>
                  <a:lnTo>
                    <a:pt x="974" y="1693"/>
                  </a:lnTo>
                  <a:lnTo>
                    <a:pt x="876" y="1667"/>
                  </a:lnTo>
                  <a:lnTo>
                    <a:pt x="781" y="1638"/>
                  </a:lnTo>
                  <a:lnTo>
                    <a:pt x="691" y="1605"/>
                  </a:lnTo>
                  <a:lnTo>
                    <a:pt x="604" y="1570"/>
                  </a:lnTo>
                  <a:lnTo>
                    <a:pt x="522" y="1531"/>
                  </a:lnTo>
                  <a:lnTo>
                    <a:pt x="457" y="1497"/>
                  </a:lnTo>
                  <a:lnTo>
                    <a:pt x="395" y="1460"/>
                  </a:lnTo>
                  <a:lnTo>
                    <a:pt x="338" y="1424"/>
                  </a:lnTo>
                  <a:lnTo>
                    <a:pt x="286" y="1385"/>
                  </a:lnTo>
                  <a:lnTo>
                    <a:pt x="284" y="1387"/>
                  </a:lnTo>
                  <a:lnTo>
                    <a:pt x="282" y="1389"/>
                  </a:lnTo>
                  <a:lnTo>
                    <a:pt x="240" y="1434"/>
                  </a:lnTo>
                  <a:lnTo>
                    <a:pt x="203" y="1481"/>
                  </a:lnTo>
                  <a:lnTo>
                    <a:pt x="174" y="1528"/>
                  </a:lnTo>
                  <a:lnTo>
                    <a:pt x="150" y="1576"/>
                  </a:lnTo>
                  <a:lnTo>
                    <a:pt x="133" y="1624"/>
                  </a:lnTo>
                  <a:lnTo>
                    <a:pt x="123" y="1672"/>
                  </a:lnTo>
                  <a:lnTo>
                    <a:pt x="119" y="1720"/>
                  </a:lnTo>
                  <a:lnTo>
                    <a:pt x="123" y="1770"/>
                  </a:lnTo>
                  <a:lnTo>
                    <a:pt x="132" y="1820"/>
                  </a:lnTo>
                  <a:lnTo>
                    <a:pt x="149" y="1868"/>
                  </a:lnTo>
                  <a:lnTo>
                    <a:pt x="172" y="1915"/>
                  </a:lnTo>
                  <a:lnTo>
                    <a:pt x="201" y="1962"/>
                  </a:lnTo>
                  <a:lnTo>
                    <a:pt x="237" y="2008"/>
                  </a:lnTo>
                  <a:lnTo>
                    <a:pt x="279" y="2053"/>
                  </a:lnTo>
                  <a:lnTo>
                    <a:pt x="326" y="2095"/>
                  </a:lnTo>
                  <a:lnTo>
                    <a:pt x="379" y="2138"/>
                  </a:lnTo>
                  <a:lnTo>
                    <a:pt x="438" y="2179"/>
                  </a:lnTo>
                  <a:lnTo>
                    <a:pt x="503" y="2218"/>
                  </a:lnTo>
                  <a:lnTo>
                    <a:pt x="574" y="2255"/>
                  </a:lnTo>
                  <a:lnTo>
                    <a:pt x="652" y="2292"/>
                  </a:lnTo>
                  <a:lnTo>
                    <a:pt x="735" y="2325"/>
                  </a:lnTo>
                  <a:lnTo>
                    <a:pt x="822" y="2356"/>
                  </a:lnTo>
                  <a:lnTo>
                    <a:pt x="912" y="2385"/>
                  </a:lnTo>
                  <a:lnTo>
                    <a:pt x="1005" y="2410"/>
                  </a:lnTo>
                  <a:lnTo>
                    <a:pt x="1102" y="2431"/>
                  </a:lnTo>
                  <a:lnTo>
                    <a:pt x="1200" y="2449"/>
                  </a:lnTo>
                  <a:lnTo>
                    <a:pt x="1302" y="2465"/>
                  </a:lnTo>
                  <a:lnTo>
                    <a:pt x="1404" y="2477"/>
                  </a:lnTo>
                  <a:lnTo>
                    <a:pt x="1510" y="2485"/>
                  </a:lnTo>
                  <a:lnTo>
                    <a:pt x="1617" y="2490"/>
                  </a:lnTo>
                  <a:lnTo>
                    <a:pt x="1726" y="2492"/>
                  </a:lnTo>
                  <a:lnTo>
                    <a:pt x="1834" y="2490"/>
                  </a:lnTo>
                  <a:lnTo>
                    <a:pt x="1941" y="2485"/>
                  </a:lnTo>
                  <a:lnTo>
                    <a:pt x="2046" y="2477"/>
                  </a:lnTo>
                  <a:lnTo>
                    <a:pt x="2150" y="2465"/>
                  </a:lnTo>
                  <a:lnTo>
                    <a:pt x="2252" y="2449"/>
                  </a:lnTo>
                  <a:lnTo>
                    <a:pt x="2350" y="2431"/>
                  </a:lnTo>
                  <a:lnTo>
                    <a:pt x="2446" y="2410"/>
                  </a:lnTo>
                  <a:lnTo>
                    <a:pt x="2540" y="2385"/>
                  </a:lnTo>
                  <a:lnTo>
                    <a:pt x="2629" y="2356"/>
                  </a:lnTo>
                  <a:lnTo>
                    <a:pt x="2716" y="2325"/>
                  </a:lnTo>
                  <a:lnTo>
                    <a:pt x="2798" y="2292"/>
                  </a:lnTo>
                  <a:lnTo>
                    <a:pt x="2877" y="2255"/>
                  </a:lnTo>
                  <a:lnTo>
                    <a:pt x="2948" y="2218"/>
                  </a:lnTo>
                  <a:lnTo>
                    <a:pt x="3013" y="2179"/>
                  </a:lnTo>
                  <a:lnTo>
                    <a:pt x="3072" y="2138"/>
                  </a:lnTo>
                  <a:lnTo>
                    <a:pt x="3125" y="2095"/>
                  </a:lnTo>
                  <a:lnTo>
                    <a:pt x="3172" y="2053"/>
                  </a:lnTo>
                  <a:lnTo>
                    <a:pt x="3214" y="2008"/>
                  </a:lnTo>
                  <a:lnTo>
                    <a:pt x="3250" y="1962"/>
                  </a:lnTo>
                  <a:lnTo>
                    <a:pt x="3279" y="1915"/>
                  </a:lnTo>
                  <a:lnTo>
                    <a:pt x="3302" y="1868"/>
                  </a:lnTo>
                  <a:lnTo>
                    <a:pt x="3319" y="1820"/>
                  </a:lnTo>
                  <a:lnTo>
                    <a:pt x="3328" y="1770"/>
                  </a:lnTo>
                  <a:lnTo>
                    <a:pt x="3331" y="1720"/>
                  </a:lnTo>
                  <a:lnTo>
                    <a:pt x="3328" y="1672"/>
                  </a:lnTo>
                  <a:lnTo>
                    <a:pt x="3318" y="1624"/>
                  </a:lnTo>
                  <a:lnTo>
                    <a:pt x="3301" y="1575"/>
                  </a:lnTo>
                  <a:lnTo>
                    <a:pt x="3278" y="1528"/>
                  </a:lnTo>
                  <a:lnTo>
                    <a:pt x="3249" y="1480"/>
                  </a:lnTo>
                  <a:lnTo>
                    <a:pt x="3212" y="1434"/>
                  </a:lnTo>
                  <a:lnTo>
                    <a:pt x="3170" y="1388"/>
                  </a:lnTo>
                  <a:lnTo>
                    <a:pt x="3168" y="1386"/>
                  </a:lnTo>
                  <a:lnTo>
                    <a:pt x="3166" y="1384"/>
                  </a:lnTo>
                  <a:close/>
                  <a:moveTo>
                    <a:pt x="1726" y="119"/>
                  </a:moveTo>
                  <a:lnTo>
                    <a:pt x="1617" y="120"/>
                  </a:lnTo>
                  <a:lnTo>
                    <a:pt x="1510" y="125"/>
                  </a:lnTo>
                  <a:lnTo>
                    <a:pt x="1404" y="134"/>
                  </a:lnTo>
                  <a:lnTo>
                    <a:pt x="1302" y="146"/>
                  </a:lnTo>
                  <a:lnTo>
                    <a:pt x="1200" y="162"/>
                  </a:lnTo>
                  <a:lnTo>
                    <a:pt x="1102" y="180"/>
                  </a:lnTo>
                  <a:lnTo>
                    <a:pt x="1005" y="202"/>
                  </a:lnTo>
                  <a:lnTo>
                    <a:pt x="912" y="227"/>
                  </a:lnTo>
                  <a:lnTo>
                    <a:pt x="822" y="254"/>
                  </a:lnTo>
                  <a:lnTo>
                    <a:pt x="735" y="285"/>
                  </a:lnTo>
                  <a:lnTo>
                    <a:pt x="652" y="320"/>
                  </a:lnTo>
                  <a:lnTo>
                    <a:pt x="574" y="356"/>
                  </a:lnTo>
                  <a:lnTo>
                    <a:pt x="503" y="394"/>
                  </a:lnTo>
                  <a:lnTo>
                    <a:pt x="438" y="432"/>
                  </a:lnTo>
                  <a:lnTo>
                    <a:pt x="379" y="473"/>
                  </a:lnTo>
                  <a:lnTo>
                    <a:pt x="326" y="515"/>
                  </a:lnTo>
                  <a:lnTo>
                    <a:pt x="279" y="559"/>
                  </a:lnTo>
                  <a:lnTo>
                    <a:pt x="237" y="604"/>
                  </a:lnTo>
                  <a:lnTo>
                    <a:pt x="201" y="650"/>
                  </a:lnTo>
                  <a:lnTo>
                    <a:pt x="172" y="696"/>
                  </a:lnTo>
                  <a:lnTo>
                    <a:pt x="149" y="744"/>
                  </a:lnTo>
                  <a:lnTo>
                    <a:pt x="132" y="792"/>
                  </a:lnTo>
                  <a:lnTo>
                    <a:pt x="123" y="841"/>
                  </a:lnTo>
                  <a:lnTo>
                    <a:pt x="119" y="890"/>
                  </a:lnTo>
                  <a:lnTo>
                    <a:pt x="123" y="939"/>
                  </a:lnTo>
                  <a:lnTo>
                    <a:pt x="132" y="988"/>
                  </a:lnTo>
                  <a:lnTo>
                    <a:pt x="149" y="1036"/>
                  </a:lnTo>
                  <a:lnTo>
                    <a:pt x="172" y="1084"/>
                  </a:lnTo>
                  <a:lnTo>
                    <a:pt x="201" y="1131"/>
                  </a:lnTo>
                  <a:lnTo>
                    <a:pt x="237" y="1177"/>
                  </a:lnTo>
                  <a:lnTo>
                    <a:pt x="279" y="1221"/>
                  </a:lnTo>
                  <a:lnTo>
                    <a:pt x="326" y="1265"/>
                  </a:lnTo>
                  <a:lnTo>
                    <a:pt x="379" y="1307"/>
                  </a:lnTo>
                  <a:lnTo>
                    <a:pt x="438" y="1347"/>
                  </a:lnTo>
                  <a:lnTo>
                    <a:pt x="503" y="1387"/>
                  </a:lnTo>
                  <a:lnTo>
                    <a:pt x="574" y="1424"/>
                  </a:lnTo>
                  <a:lnTo>
                    <a:pt x="652" y="1461"/>
                  </a:lnTo>
                  <a:lnTo>
                    <a:pt x="735" y="1495"/>
                  </a:lnTo>
                  <a:lnTo>
                    <a:pt x="822" y="1526"/>
                  </a:lnTo>
                  <a:lnTo>
                    <a:pt x="912" y="1553"/>
                  </a:lnTo>
                  <a:lnTo>
                    <a:pt x="1005" y="1578"/>
                  </a:lnTo>
                  <a:lnTo>
                    <a:pt x="1102" y="1600"/>
                  </a:lnTo>
                  <a:lnTo>
                    <a:pt x="1200" y="1619"/>
                  </a:lnTo>
                  <a:lnTo>
                    <a:pt x="1302" y="1634"/>
                  </a:lnTo>
                  <a:lnTo>
                    <a:pt x="1404" y="1646"/>
                  </a:lnTo>
                  <a:lnTo>
                    <a:pt x="1510" y="1655"/>
                  </a:lnTo>
                  <a:lnTo>
                    <a:pt x="1617" y="1660"/>
                  </a:lnTo>
                  <a:lnTo>
                    <a:pt x="1726" y="1662"/>
                  </a:lnTo>
                  <a:lnTo>
                    <a:pt x="1834" y="1660"/>
                  </a:lnTo>
                  <a:lnTo>
                    <a:pt x="1941" y="1655"/>
                  </a:lnTo>
                  <a:lnTo>
                    <a:pt x="2046" y="1646"/>
                  </a:lnTo>
                  <a:lnTo>
                    <a:pt x="2150" y="1634"/>
                  </a:lnTo>
                  <a:lnTo>
                    <a:pt x="2252" y="1619"/>
                  </a:lnTo>
                  <a:lnTo>
                    <a:pt x="2350" y="1600"/>
                  </a:lnTo>
                  <a:lnTo>
                    <a:pt x="2446" y="1578"/>
                  </a:lnTo>
                  <a:lnTo>
                    <a:pt x="2540" y="1553"/>
                  </a:lnTo>
                  <a:lnTo>
                    <a:pt x="2629" y="1526"/>
                  </a:lnTo>
                  <a:lnTo>
                    <a:pt x="2716" y="1495"/>
                  </a:lnTo>
                  <a:lnTo>
                    <a:pt x="2798" y="1461"/>
                  </a:lnTo>
                  <a:lnTo>
                    <a:pt x="2877" y="1424"/>
                  </a:lnTo>
                  <a:lnTo>
                    <a:pt x="2948" y="1387"/>
                  </a:lnTo>
                  <a:lnTo>
                    <a:pt x="3013" y="1347"/>
                  </a:lnTo>
                  <a:lnTo>
                    <a:pt x="3072" y="1307"/>
                  </a:lnTo>
                  <a:lnTo>
                    <a:pt x="3125" y="1265"/>
                  </a:lnTo>
                  <a:lnTo>
                    <a:pt x="3172" y="1221"/>
                  </a:lnTo>
                  <a:lnTo>
                    <a:pt x="3214" y="1177"/>
                  </a:lnTo>
                  <a:lnTo>
                    <a:pt x="3250" y="1131"/>
                  </a:lnTo>
                  <a:lnTo>
                    <a:pt x="3279" y="1084"/>
                  </a:lnTo>
                  <a:lnTo>
                    <a:pt x="3302" y="1036"/>
                  </a:lnTo>
                  <a:lnTo>
                    <a:pt x="3319" y="988"/>
                  </a:lnTo>
                  <a:lnTo>
                    <a:pt x="3328" y="939"/>
                  </a:lnTo>
                  <a:lnTo>
                    <a:pt x="3331" y="890"/>
                  </a:lnTo>
                  <a:lnTo>
                    <a:pt x="3328" y="841"/>
                  </a:lnTo>
                  <a:lnTo>
                    <a:pt x="3319" y="792"/>
                  </a:lnTo>
                  <a:lnTo>
                    <a:pt x="3302" y="744"/>
                  </a:lnTo>
                  <a:lnTo>
                    <a:pt x="3279" y="696"/>
                  </a:lnTo>
                  <a:lnTo>
                    <a:pt x="3250" y="650"/>
                  </a:lnTo>
                  <a:lnTo>
                    <a:pt x="3214" y="604"/>
                  </a:lnTo>
                  <a:lnTo>
                    <a:pt x="3172" y="559"/>
                  </a:lnTo>
                  <a:lnTo>
                    <a:pt x="3125" y="515"/>
                  </a:lnTo>
                  <a:lnTo>
                    <a:pt x="3072" y="473"/>
                  </a:lnTo>
                  <a:lnTo>
                    <a:pt x="3013" y="432"/>
                  </a:lnTo>
                  <a:lnTo>
                    <a:pt x="2948" y="394"/>
                  </a:lnTo>
                  <a:lnTo>
                    <a:pt x="2877" y="356"/>
                  </a:lnTo>
                  <a:lnTo>
                    <a:pt x="2798" y="320"/>
                  </a:lnTo>
                  <a:lnTo>
                    <a:pt x="2716" y="285"/>
                  </a:lnTo>
                  <a:lnTo>
                    <a:pt x="2629" y="254"/>
                  </a:lnTo>
                  <a:lnTo>
                    <a:pt x="2539" y="227"/>
                  </a:lnTo>
                  <a:lnTo>
                    <a:pt x="2445" y="202"/>
                  </a:lnTo>
                  <a:lnTo>
                    <a:pt x="2349" y="180"/>
                  </a:lnTo>
                  <a:lnTo>
                    <a:pt x="2251" y="162"/>
                  </a:lnTo>
                  <a:lnTo>
                    <a:pt x="2149" y="146"/>
                  </a:lnTo>
                  <a:lnTo>
                    <a:pt x="2046" y="134"/>
                  </a:lnTo>
                  <a:lnTo>
                    <a:pt x="1941" y="125"/>
                  </a:lnTo>
                  <a:lnTo>
                    <a:pt x="1834" y="120"/>
                  </a:lnTo>
                  <a:lnTo>
                    <a:pt x="1726" y="119"/>
                  </a:lnTo>
                  <a:close/>
                  <a:moveTo>
                    <a:pt x="1725" y="0"/>
                  </a:moveTo>
                  <a:lnTo>
                    <a:pt x="1726" y="0"/>
                  </a:lnTo>
                  <a:lnTo>
                    <a:pt x="1838" y="2"/>
                  </a:lnTo>
                  <a:lnTo>
                    <a:pt x="1950" y="7"/>
                  </a:lnTo>
                  <a:lnTo>
                    <a:pt x="2060" y="17"/>
                  </a:lnTo>
                  <a:lnTo>
                    <a:pt x="2168" y="29"/>
                  </a:lnTo>
                  <a:lnTo>
                    <a:pt x="2274" y="45"/>
                  </a:lnTo>
                  <a:lnTo>
                    <a:pt x="2377" y="65"/>
                  </a:lnTo>
                  <a:lnTo>
                    <a:pt x="2478" y="88"/>
                  </a:lnTo>
                  <a:lnTo>
                    <a:pt x="2575" y="114"/>
                  </a:lnTo>
                  <a:lnTo>
                    <a:pt x="2669" y="143"/>
                  </a:lnTo>
                  <a:lnTo>
                    <a:pt x="2760" y="175"/>
                  </a:lnTo>
                  <a:lnTo>
                    <a:pt x="2846" y="211"/>
                  </a:lnTo>
                  <a:lnTo>
                    <a:pt x="2929" y="250"/>
                  </a:lnTo>
                  <a:lnTo>
                    <a:pt x="3005" y="289"/>
                  </a:lnTo>
                  <a:lnTo>
                    <a:pt x="3074" y="330"/>
                  </a:lnTo>
                  <a:lnTo>
                    <a:pt x="3138" y="374"/>
                  </a:lnTo>
                  <a:lnTo>
                    <a:pt x="3196" y="420"/>
                  </a:lnTo>
                  <a:lnTo>
                    <a:pt x="3249" y="467"/>
                  </a:lnTo>
                  <a:lnTo>
                    <a:pt x="3296" y="515"/>
                  </a:lnTo>
                  <a:lnTo>
                    <a:pt x="3336" y="565"/>
                  </a:lnTo>
                  <a:lnTo>
                    <a:pt x="3371" y="617"/>
                  </a:lnTo>
                  <a:lnTo>
                    <a:pt x="3399" y="670"/>
                  </a:lnTo>
                  <a:lnTo>
                    <a:pt x="3421" y="724"/>
                  </a:lnTo>
                  <a:lnTo>
                    <a:pt x="3438" y="778"/>
                  </a:lnTo>
                  <a:lnTo>
                    <a:pt x="3448" y="834"/>
                  </a:lnTo>
                  <a:lnTo>
                    <a:pt x="3451" y="890"/>
                  </a:lnTo>
                  <a:lnTo>
                    <a:pt x="3448" y="945"/>
                  </a:lnTo>
                  <a:lnTo>
                    <a:pt x="3438" y="1000"/>
                  </a:lnTo>
                  <a:lnTo>
                    <a:pt x="3422" y="1054"/>
                  </a:lnTo>
                  <a:lnTo>
                    <a:pt x="3400" y="1106"/>
                  </a:lnTo>
                  <a:lnTo>
                    <a:pt x="3373" y="1158"/>
                  </a:lnTo>
                  <a:lnTo>
                    <a:pt x="3340" y="1209"/>
                  </a:lnTo>
                  <a:lnTo>
                    <a:pt x="3301" y="1258"/>
                  </a:lnTo>
                  <a:lnTo>
                    <a:pt x="3256" y="1306"/>
                  </a:lnTo>
                  <a:lnTo>
                    <a:pt x="3301" y="1354"/>
                  </a:lnTo>
                  <a:lnTo>
                    <a:pt x="3340" y="1404"/>
                  </a:lnTo>
                  <a:lnTo>
                    <a:pt x="3373" y="1454"/>
                  </a:lnTo>
                  <a:lnTo>
                    <a:pt x="3402" y="1506"/>
                  </a:lnTo>
                  <a:lnTo>
                    <a:pt x="3422" y="1560"/>
                  </a:lnTo>
                  <a:lnTo>
                    <a:pt x="3438" y="1613"/>
                  </a:lnTo>
                  <a:lnTo>
                    <a:pt x="3449" y="1667"/>
                  </a:lnTo>
                  <a:lnTo>
                    <a:pt x="3452" y="1720"/>
                  </a:lnTo>
                  <a:lnTo>
                    <a:pt x="3449" y="1775"/>
                  </a:lnTo>
                  <a:lnTo>
                    <a:pt x="3440" y="1827"/>
                  </a:lnTo>
                  <a:lnTo>
                    <a:pt x="3426" y="1879"/>
                  </a:lnTo>
                  <a:lnTo>
                    <a:pt x="3405" y="1930"/>
                  </a:lnTo>
                  <a:lnTo>
                    <a:pt x="3379" y="1981"/>
                  </a:lnTo>
                  <a:lnTo>
                    <a:pt x="3347" y="2031"/>
                  </a:lnTo>
                  <a:lnTo>
                    <a:pt x="3310" y="2078"/>
                  </a:lnTo>
                  <a:lnTo>
                    <a:pt x="3313" y="2082"/>
                  </a:lnTo>
                  <a:lnTo>
                    <a:pt x="3317" y="2085"/>
                  </a:lnTo>
                  <a:lnTo>
                    <a:pt x="3358" y="2141"/>
                  </a:lnTo>
                  <a:lnTo>
                    <a:pt x="3391" y="2198"/>
                  </a:lnTo>
                  <a:lnTo>
                    <a:pt x="3417" y="2255"/>
                  </a:lnTo>
                  <a:lnTo>
                    <a:pt x="3436" y="2314"/>
                  </a:lnTo>
                  <a:lnTo>
                    <a:pt x="3447" y="2373"/>
                  </a:lnTo>
                  <a:lnTo>
                    <a:pt x="3451" y="2433"/>
                  </a:lnTo>
                  <a:lnTo>
                    <a:pt x="3448" y="2489"/>
                  </a:lnTo>
                  <a:lnTo>
                    <a:pt x="3438" y="2545"/>
                  </a:lnTo>
                  <a:lnTo>
                    <a:pt x="3421" y="2600"/>
                  </a:lnTo>
                  <a:lnTo>
                    <a:pt x="3399" y="2653"/>
                  </a:lnTo>
                  <a:lnTo>
                    <a:pt x="3370" y="2706"/>
                  </a:lnTo>
                  <a:lnTo>
                    <a:pt x="3336" y="2758"/>
                  </a:lnTo>
                  <a:lnTo>
                    <a:pt x="3295" y="2808"/>
                  </a:lnTo>
                  <a:lnTo>
                    <a:pt x="3249" y="2856"/>
                  </a:lnTo>
                  <a:lnTo>
                    <a:pt x="3195" y="2904"/>
                  </a:lnTo>
                  <a:lnTo>
                    <a:pt x="3138" y="2949"/>
                  </a:lnTo>
                  <a:lnTo>
                    <a:pt x="3074" y="2993"/>
                  </a:lnTo>
                  <a:lnTo>
                    <a:pt x="3005" y="3034"/>
                  </a:lnTo>
                  <a:lnTo>
                    <a:pt x="2929" y="3074"/>
                  </a:lnTo>
                  <a:lnTo>
                    <a:pt x="2846" y="3113"/>
                  </a:lnTo>
                  <a:lnTo>
                    <a:pt x="2760" y="3148"/>
                  </a:lnTo>
                  <a:lnTo>
                    <a:pt x="2669" y="3181"/>
                  </a:lnTo>
                  <a:lnTo>
                    <a:pt x="2575" y="3210"/>
                  </a:lnTo>
                  <a:lnTo>
                    <a:pt x="2478" y="3236"/>
                  </a:lnTo>
                  <a:lnTo>
                    <a:pt x="2377" y="3259"/>
                  </a:lnTo>
                  <a:lnTo>
                    <a:pt x="2274" y="3278"/>
                  </a:lnTo>
                  <a:lnTo>
                    <a:pt x="2168" y="3294"/>
                  </a:lnTo>
                  <a:lnTo>
                    <a:pt x="2060" y="3307"/>
                  </a:lnTo>
                  <a:lnTo>
                    <a:pt x="1950" y="3315"/>
                  </a:lnTo>
                  <a:lnTo>
                    <a:pt x="1838" y="3322"/>
                  </a:lnTo>
                  <a:lnTo>
                    <a:pt x="1726" y="3323"/>
                  </a:lnTo>
                  <a:lnTo>
                    <a:pt x="1613" y="3322"/>
                  </a:lnTo>
                  <a:lnTo>
                    <a:pt x="1501" y="3315"/>
                  </a:lnTo>
                  <a:lnTo>
                    <a:pt x="1392" y="3307"/>
                  </a:lnTo>
                  <a:lnTo>
                    <a:pt x="1283" y="3294"/>
                  </a:lnTo>
                  <a:lnTo>
                    <a:pt x="1177" y="3279"/>
                  </a:lnTo>
                  <a:lnTo>
                    <a:pt x="1075" y="3259"/>
                  </a:lnTo>
                  <a:lnTo>
                    <a:pt x="974" y="3236"/>
                  </a:lnTo>
                  <a:lnTo>
                    <a:pt x="876" y="3210"/>
                  </a:lnTo>
                  <a:lnTo>
                    <a:pt x="781" y="3181"/>
                  </a:lnTo>
                  <a:lnTo>
                    <a:pt x="691" y="3148"/>
                  </a:lnTo>
                  <a:lnTo>
                    <a:pt x="604" y="3113"/>
                  </a:lnTo>
                  <a:lnTo>
                    <a:pt x="522" y="3074"/>
                  </a:lnTo>
                  <a:lnTo>
                    <a:pt x="446" y="3034"/>
                  </a:lnTo>
                  <a:lnTo>
                    <a:pt x="377" y="2993"/>
                  </a:lnTo>
                  <a:lnTo>
                    <a:pt x="313" y="2949"/>
                  </a:lnTo>
                  <a:lnTo>
                    <a:pt x="254" y="2904"/>
                  </a:lnTo>
                  <a:lnTo>
                    <a:pt x="202" y="2856"/>
                  </a:lnTo>
                  <a:lnTo>
                    <a:pt x="155" y="2808"/>
                  </a:lnTo>
                  <a:lnTo>
                    <a:pt x="115" y="2758"/>
                  </a:lnTo>
                  <a:lnTo>
                    <a:pt x="80" y="2706"/>
                  </a:lnTo>
                  <a:lnTo>
                    <a:pt x="51" y="2653"/>
                  </a:lnTo>
                  <a:lnTo>
                    <a:pt x="29" y="2600"/>
                  </a:lnTo>
                  <a:lnTo>
                    <a:pt x="13" y="2545"/>
                  </a:lnTo>
                  <a:lnTo>
                    <a:pt x="3" y="2489"/>
                  </a:lnTo>
                  <a:lnTo>
                    <a:pt x="0" y="2433"/>
                  </a:lnTo>
                  <a:lnTo>
                    <a:pt x="3" y="2382"/>
                  </a:lnTo>
                  <a:lnTo>
                    <a:pt x="12" y="2330"/>
                  </a:lnTo>
                  <a:lnTo>
                    <a:pt x="25" y="2280"/>
                  </a:lnTo>
                  <a:lnTo>
                    <a:pt x="45" y="2230"/>
                  </a:lnTo>
                  <a:lnTo>
                    <a:pt x="70" y="2181"/>
                  </a:lnTo>
                  <a:lnTo>
                    <a:pt x="101" y="2133"/>
                  </a:lnTo>
                  <a:lnTo>
                    <a:pt x="136" y="2085"/>
                  </a:lnTo>
                  <a:lnTo>
                    <a:pt x="137" y="2083"/>
                  </a:lnTo>
                  <a:lnTo>
                    <a:pt x="139" y="2082"/>
                  </a:lnTo>
                  <a:lnTo>
                    <a:pt x="141" y="2080"/>
                  </a:lnTo>
                  <a:lnTo>
                    <a:pt x="105" y="2031"/>
                  </a:lnTo>
                  <a:lnTo>
                    <a:pt x="73" y="1981"/>
                  </a:lnTo>
                  <a:lnTo>
                    <a:pt x="47" y="1931"/>
                  </a:lnTo>
                  <a:lnTo>
                    <a:pt x="26" y="1879"/>
                  </a:lnTo>
                  <a:lnTo>
                    <a:pt x="12" y="1827"/>
                  </a:lnTo>
                  <a:lnTo>
                    <a:pt x="3" y="1775"/>
                  </a:lnTo>
                  <a:lnTo>
                    <a:pt x="0" y="1720"/>
                  </a:lnTo>
                  <a:lnTo>
                    <a:pt x="3" y="1667"/>
                  </a:lnTo>
                  <a:lnTo>
                    <a:pt x="14" y="1613"/>
                  </a:lnTo>
                  <a:lnTo>
                    <a:pt x="29" y="1560"/>
                  </a:lnTo>
                  <a:lnTo>
                    <a:pt x="51" y="1506"/>
                  </a:lnTo>
                  <a:lnTo>
                    <a:pt x="79" y="1455"/>
                  </a:lnTo>
                  <a:lnTo>
                    <a:pt x="112" y="1404"/>
                  </a:lnTo>
                  <a:lnTo>
                    <a:pt x="152" y="1355"/>
                  </a:lnTo>
                  <a:lnTo>
                    <a:pt x="196" y="1307"/>
                  </a:lnTo>
                  <a:lnTo>
                    <a:pt x="151" y="1259"/>
                  </a:lnTo>
                  <a:lnTo>
                    <a:pt x="111" y="1210"/>
                  </a:lnTo>
                  <a:lnTo>
                    <a:pt x="77" y="1158"/>
                  </a:lnTo>
                  <a:lnTo>
                    <a:pt x="50" y="1107"/>
                  </a:lnTo>
                  <a:lnTo>
                    <a:pt x="28" y="1054"/>
                  </a:lnTo>
                  <a:lnTo>
                    <a:pt x="13" y="1000"/>
                  </a:lnTo>
                  <a:lnTo>
                    <a:pt x="3" y="945"/>
                  </a:lnTo>
                  <a:lnTo>
                    <a:pt x="0" y="890"/>
                  </a:lnTo>
                  <a:lnTo>
                    <a:pt x="3" y="834"/>
                  </a:lnTo>
                  <a:lnTo>
                    <a:pt x="13" y="778"/>
                  </a:lnTo>
                  <a:lnTo>
                    <a:pt x="29" y="724"/>
                  </a:lnTo>
                  <a:lnTo>
                    <a:pt x="51" y="670"/>
                  </a:lnTo>
                  <a:lnTo>
                    <a:pt x="80" y="617"/>
                  </a:lnTo>
                  <a:lnTo>
                    <a:pt x="115" y="565"/>
                  </a:lnTo>
                  <a:lnTo>
                    <a:pt x="155" y="515"/>
                  </a:lnTo>
                  <a:lnTo>
                    <a:pt x="202" y="467"/>
                  </a:lnTo>
                  <a:lnTo>
                    <a:pt x="254" y="420"/>
                  </a:lnTo>
                  <a:lnTo>
                    <a:pt x="313" y="374"/>
                  </a:lnTo>
                  <a:lnTo>
                    <a:pt x="377" y="330"/>
                  </a:lnTo>
                  <a:lnTo>
                    <a:pt x="446" y="289"/>
                  </a:lnTo>
                  <a:lnTo>
                    <a:pt x="522" y="250"/>
                  </a:lnTo>
                  <a:lnTo>
                    <a:pt x="604" y="211"/>
                  </a:lnTo>
                  <a:lnTo>
                    <a:pt x="691" y="175"/>
                  </a:lnTo>
                  <a:lnTo>
                    <a:pt x="781" y="143"/>
                  </a:lnTo>
                  <a:lnTo>
                    <a:pt x="876" y="114"/>
                  </a:lnTo>
                  <a:lnTo>
                    <a:pt x="973" y="88"/>
                  </a:lnTo>
                  <a:lnTo>
                    <a:pt x="1073" y="65"/>
                  </a:lnTo>
                  <a:lnTo>
                    <a:pt x="1177" y="45"/>
                  </a:lnTo>
                  <a:lnTo>
                    <a:pt x="1283" y="29"/>
                  </a:lnTo>
                  <a:lnTo>
                    <a:pt x="1391" y="17"/>
                  </a:lnTo>
                  <a:lnTo>
                    <a:pt x="1501" y="7"/>
                  </a:lnTo>
                  <a:lnTo>
                    <a:pt x="1613" y="2"/>
                  </a:lnTo>
                  <a:lnTo>
                    <a:pt x="1725" y="0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182850" tIns="91400" rIns="182850" bIns="91400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9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554;p31"/>
            <p:cNvSpPr/>
            <p:nvPr/>
          </p:nvSpPr>
          <p:spPr>
            <a:xfrm>
              <a:off x="686" y="6961"/>
              <a:ext cx="111" cy="64"/>
            </a:xfrm>
            <a:custGeom>
              <a:avLst/>
              <a:gdLst/>
              <a:ahLst/>
              <a:cxnLst/>
              <a:rect l="l" t="t" r="r" b="b"/>
              <a:pathLst>
                <a:path w="1009" h="586" extrusionOk="0">
                  <a:moveTo>
                    <a:pt x="33" y="0"/>
                  </a:moveTo>
                  <a:lnTo>
                    <a:pt x="44" y="3"/>
                  </a:lnTo>
                  <a:lnTo>
                    <a:pt x="53" y="10"/>
                  </a:lnTo>
                  <a:lnTo>
                    <a:pt x="58" y="21"/>
                  </a:lnTo>
                  <a:lnTo>
                    <a:pt x="72" y="56"/>
                  </a:lnTo>
                  <a:lnTo>
                    <a:pt x="92" y="93"/>
                  </a:lnTo>
                  <a:lnTo>
                    <a:pt x="118" y="129"/>
                  </a:lnTo>
                  <a:lnTo>
                    <a:pt x="150" y="165"/>
                  </a:lnTo>
                  <a:lnTo>
                    <a:pt x="184" y="200"/>
                  </a:lnTo>
                  <a:lnTo>
                    <a:pt x="223" y="234"/>
                  </a:lnTo>
                  <a:lnTo>
                    <a:pt x="263" y="267"/>
                  </a:lnTo>
                  <a:lnTo>
                    <a:pt x="306" y="299"/>
                  </a:lnTo>
                  <a:lnTo>
                    <a:pt x="348" y="328"/>
                  </a:lnTo>
                  <a:lnTo>
                    <a:pt x="391" y="355"/>
                  </a:lnTo>
                  <a:lnTo>
                    <a:pt x="432" y="379"/>
                  </a:lnTo>
                  <a:lnTo>
                    <a:pt x="490" y="411"/>
                  </a:lnTo>
                  <a:lnTo>
                    <a:pt x="551" y="436"/>
                  </a:lnTo>
                  <a:lnTo>
                    <a:pt x="613" y="458"/>
                  </a:lnTo>
                  <a:lnTo>
                    <a:pt x="674" y="476"/>
                  </a:lnTo>
                  <a:lnTo>
                    <a:pt x="733" y="491"/>
                  </a:lnTo>
                  <a:lnTo>
                    <a:pt x="791" y="502"/>
                  </a:lnTo>
                  <a:lnTo>
                    <a:pt x="845" y="512"/>
                  </a:lnTo>
                  <a:lnTo>
                    <a:pt x="896" y="519"/>
                  </a:lnTo>
                  <a:lnTo>
                    <a:pt x="942" y="523"/>
                  </a:lnTo>
                  <a:lnTo>
                    <a:pt x="981" y="526"/>
                  </a:lnTo>
                  <a:lnTo>
                    <a:pt x="993" y="530"/>
                  </a:lnTo>
                  <a:lnTo>
                    <a:pt x="1001" y="537"/>
                  </a:lnTo>
                  <a:lnTo>
                    <a:pt x="1008" y="547"/>
                  </a:lnTo>
                  <a:lnTo>
                    <a:pt x="1009" y="559"/>
                  </a:lnTo>
                  <a:lnTo>
                    <a:pt x="1006" y="569"/>
                  </a:lnTo>
                  <a:lnTo>
                    <a:pt x="999" y="579"/>
                  </a:lnTo>
                  <a:lnTo>
                    <a:pt x="990" y="584"/>
                  </a:lnTo>
                  <a:lnTo>
                    <a:pt x="979" y="586"/>
                  </a:lnTo>
                  <a:lnTo>
                    <a:pt x="977" y="586"/>
                  </a:lnTo>
                  <a:lnTo>
                    <a:pt x="940" y="583"/>
                  </a:lnTo>
                  <a:lnTo>
                    <a:pt x="897" y="579"/>
                  </a:lnTo>
                  <a:lnTo>
                    <a:pt x="849" y="572"/>
                  </a:lnTo>
                  <a:lnTo>
                    <a:pt x="799" y="565"/>
                  </a:lnTo>
                  <a:lnTo>
                    <a:pt x="746" y="555"/>
                  </a:lnTo>
                  <a:lnTo>
                    <a:pt x="690" y="542"/>
                  </a:lnTo>
                  <a:lnTo>
                    <a:pt x="633" y="526"/>
                  </a:lnTo>
                  <a:lnTo>
                    <a:pt x="574" y="508"/>
                  </a:lnTo>
                  <a:lnTo>
                    <a:pt x="516" y="486"/>
                  </a:lnTo>
                  <a:lnTo>
                    <a:pt x="459" y="460"/>
                  </a:lnTo>
                  <a:lnTo>
                    <a:pt x="402" y="430"/>
                  </a:lnTo>
                  <a:lnTo>
                    <a:pt x="356" y="403"/>
                  </a:lnTo>
                  <a:lnTo>
                    <a:pt x="310" y="374"/>
                  </a:lnTo>
                  <a:lnTo>
                    <a:pt x="264" y="342"/>
                  </a:lnTo>
                  <a:lnTo>
                    <a:pt x="219" y="308"/>
                  </a:lnTo>
                  <a:lnTo>
                    <a:pt x="176" y="273"/>
                  </a:lnTo>
                  <a:lnTo>
                    <a:pt x="136" y="235"/>
                  </a:lnTo>
                  <a:lnTo>
                    <a:pt x="99" y="196"/>
                  </a:lnTo>
                  <a:lnTo>
                    <a:pt x="66" y="158"/>
                  </a:lnTo>
                  <a:lnTo>
                    <a:pt x="38" y="118"/>
                  </a:lnTo>
                  <a:lnTo>
                    <a:pt x="16" y="77"/>
                  </a:lnTo>
                  <a:lnTo>
                    <a:pt x="1" y="38"/>
                  </a:lnTo>
                  <a:lnTo>
                    <a:pt x="0" y="26"/>
                  </a:lnTo>
                  <a:lnTo>
                    <a:pt x="3" y="16"/>
                  </a:lnTo>
                  <a:lnTo>
                    <a:pt x="11" y="6"/>
                  </a:lnTo>
                  <a:lnTo>
                    <a:pt x="21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txBody>
            <a:bodyPr spcFirstLastPara="1" wrap="square" lIns="182850" tIns="91400" rIns="182850" bIns="91400" anchor="t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9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2" name="Google Shape;555;p31"/>
          <p:cNvSpPr/>
          <p:nvPr/>
        </p:nvSpPr>
        <p:spPr>
          <a:xfrm flipH="1">
            <a:off x="8899858" y="3013151"/>
            <a:ext cx="631044" cy="635998"/>
          </a:xfrm>
          <a:custGeom>
            <a:avLst/>
            <a:gdLst/>
            <a:ahLst/>
            <a:cxnLst/>
            <a:rect l="l" t="t" r="r" b="b"/>
            <a:pathLst>
              <a:path w="3236120" h="3533324" extrusionOk="0">
                <a:moveTo>
                  <a:pt x="2181225" y="2731995"/>
                </a:moveTo>
                <a:lnTo>
                  <a:pt x="2181225" y="2815339"/>
                </a:lnTo>
                <a:lnTo>
                  <a:pt x="2693194" y="2815339"/>
                </a:lnTo>
                <a:lnTo>
                  <a:pt x="2693194" y="2731995"/>
                </a:lnTo>
                <a:close/>
                <a:moveTo>
                  <a:pt x="1502568" y="2041429"/>
                </a:moveTo>
                <a:lnTo>
                  <a:pt x="1618059" y="2267648"/>
                </a:lnTo>
                <a:lnTo>
                  <a:pt x="1733550" y="2041429"/>
                </a:lnTo>
                <a:close/>
                <a:moveTo>
                  <a:pt x="1951090" y="10"/>
                </a:moveTo>
                <a:cubicBezTo>
                  <a:pt x="1820914" y="114311"/>
                  <a:pt x="1889715" y="118433"/>
                  <a:pt x="1924050" y="160246"/>
                </a:cubicBezTo>
                <a:cubicBezTo>
                  <a:pt x="1980662" y="218305"/>
                  <a:pt x="2175719" y="316591"/>
                  <a:pt x="2200274" y="503146"/>
                </a:cubicBezTo>
                <a:cubicBezTo>
                  <a:pt x="2208608" y="688090"/>
                  <a:pt x="2197943" y="780934"/>
                  <a:pt x="2209799" y="884146"/>
                </a:cubicBezTo>
                <a:cubicBezTo>
                  <a:pt x="2224484" y="900417"/>
                  <a:pt x="2213820" y="896820"/>
                  <a:pt x="2245519" y="910339"/>
                </a:cubicBezTo>
                <a:cubicBezTo>
                  <a:pt x="2243931" y="967091"/>
                  <a:pt x="2234060" y="1091686"/>
                  <a:pt x="2228850" y="1150846"/>
                </a:cubicBezTo>
                <a:cubicBezTo>
                  <a:pt x="2176066" y="1246889"/>
                  <a:pt x="2147939" y="1336251"/>
                  <a:pt x="2097881" y="1477077"/>
                </a:cubicBezTo>
                <a:cubicBezTo>
                  <a:pt x="2062956" y="1538989"/>
                  <a:pt x="2054673" y="1538259"/>
                  <a:pt x="2043112" y="1624714"/>
                </a:cubicBezTo>
                <a:cubicBezTo>
                  <a:pt x="2044303" y="1682261"/>
                  <a:pt x="2038401" y="1722410"/>
                  <a:pt x="2045494" y="1839027"/>
                </a:cubicBezTo>
                <a:cubicBezTo>
                  <a:pt x="2073275" y="1856092"/>
                  <a:pt x="2081660" y="1855759"/>
                  <a:pt x="2095500" y="1872364"/>
                </a:cubicBezTo>
                <a:cubicBezTo>
                  <a:pt x="2118122" y="1944992"/>
                  <a:pt x="2128094" y="2018479"/>
                  <a:pt x="2176462" y="2091439"/>
                </a:cubicBezTo>
                <a:cubicBezTo>
                  <a:pt x="2278459" y="2156526"/>
                  <a:pt x="3078880" y="2415482"/>
                  <a:pt x="3121819" y="2562927"/>
                </a:cubicBezTo>
                <a:cubicBezTo>
                  <a:pt x="3175795" y="2735170"/>
                  <a:pt x="3186830" y="2889350"/>
                  <a:pt x="3236120" y="3062989"/>
                </a:cubicBezTo>
                <a:cubicBezTo>
                  <a:pt x="2913934" y="3069941"/>
                  <a:pt x="1967694" y="3508514"/>
                  <a:pt x="1745917" y="3533324"/>
                </a:cubicBezTo>
                <a:lnTo>
                  <a:pt x="1742541" y="3533292"/>
                </a:lnTo>
                <a:lnTo>
                  <a:pt x="1966066" y="3217771"/>
                </a:lnTo>
                <a:lnTo>
                  <a:pt x="1966912" y="3217771"/>
                </a:lnTo>
                <a:lnTo>
                  <a:pt x="1966623" y="3216985"/>
                </a:lnTo>
                <a:lnTo>
                  <a:pt x="1966911" y="3216578"/>
                </a:lnTo>
                <a:lnTo>
                  <a:pt x="1966473" y="3216578"/>
                </a:lnTo>
                <a:lnTo>
                  <a:pt x="1616869" y="2267649"/>
                </a:lnTo>
                <a:lnTo>
                  <a:pt x="1267265" y="3216578"/>
                </a:lnTo>
                <a:lnTo>
                  <a:pt x="1266823" y="3216578"/>
                </a:lnTo>
                <a:lnTo>
                  <a:pt x="1267114" y="3216988"/>
                </a:lnTo>
                <a:lnTo>
                  <a:pt x="1266825" y="3217771"/>
                </a:lnTo>
                <a:lnTo>
                  <a:pt x="1267668" y="3217771"/>
                </a:lnTo>
                <a:lnTo>
                  <a:pt x="1489627" y="3531080"/>
                </a:lnTo>
                <a:lnTo>
                  <a:pt x="1426385" y="3532099"/>
                </a:lnTo>
                <a:cubicBezTo>
                  <a:pt x="1052282" y="3507627"/>
                  <a:pt x="465340" y="3049326"/>
                  <a:pt x="0" y="3060608"/>
                </a:cubicBezTo>
                <a:cubicBezTo>
                  <a:pt x="70374" y="2810706"/>
                  <a:pt x="78223" y="2727243"/>
                  <a:pt x="113148" y="2548253"/>
                </a:cubicBezTo>
                <a:cubicBezTo>
                  <a:pt x="323018" y="2390887"/>
                  <a:pt x="918176" y="2151700"/>
                  <a:pt x="1054893" y="2084296"/>
                </a:cubicBezTo>
                <a:cubicBezTo>
                  <a:pt x="1076914" y="2024433"/>
                  <a:pt x="1099344" y="1918799"/>
                  <a:pt x="1121569" y="1877127"/>
                </a:cubicBezTo>
                <a:cubicBezTo>
                  <a:pt x="1146175" y="1849743"/>
                  <a:pt x="1152128" y="1866411"/>
                  <a:pt x="1188243" y="1834264"/>
                </a:cubicBezTo>
                <a:cubicBezTo>
                  <a:pt x="1208279" y="1716060"/>
                  <a:pt x="1212644" y="1648898"/>
                  <a:pt x="1216818" y="1586614"/>
                </a:cubicBezTo>
                <a:cubicBezTo>
                  <a:pt x="1167222" y="1536658"/>
                  <a:pt x="1155725" y="1491466"/>
                  <a:pt x="1125179" y="1443892"/>
                </a:cubicBezTo>
                <a:cubicBezTo>
                  <a:pt x="1062267" y="1234803"/>
                  <a:pt x="983263" y="997280"/>
                  <a:pt x="990599" y="910339"/>
                </a:cubicBezTo>
                <a:cubicBezTo>
                  <a:pt x="1021747" y="880548"/>
                  <a:pt x="998934" y="904781"/>
                  <a:pt x="1054894" y="857950"/>
                </a:cubicBezTo>
                <a:cubicBezTo>
                  <a:pt x="1057071" y="771010"/>
                  <a:pt x="1046418" y="761230"/>
                  <a:pt x="1054894" y="517433"/>
                </a:cubicBezTo>
                <a:cubicBezTo>
                  <a:pt x="1070514" y="118855"/>
                  <a:pt x="1714604" y="-1206"/>
                  <a:pt x="1951090" y="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37100" tIns="68550" rIns="137100" bIns="6855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sz="7400">
              <a:solidFill>
                <a:srgbClr val="595959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7" name="Google Shape;363;p28"/>
          <p:cNvCxnSpPr>
            <a:endCxn id="50" idx="4"/>
          </p:cNvCxnSpPr>
          <p:nvPr/>
        </p:nvCxnSpPr>
        <p:spPr>
          <a:xfrm rot="10800000" flipH="1">
            <a:off x="2876524" y="3665618"/>
            <a:ext cx="15000" cy="5071200"/>
          </a:xfrm>
          <a:prstGeom prst="straightConnector1">
            <a:avLst/>
          </a:prstGeom>
          <a:solidFill>
            <a:srgbClr val="E6D2B9"/>
          </a:solidFill>
          <a:ln w="38100" cap="flat" cmpd="sng">
            <a:solidFill>
              <a:srgbClr val="93C47D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8" name="Google Shape;365;p28"/>
          <p:cNvGrpSpPr/>
          <p:nvPr/>
        </p:nvGrpSpPr>
        <p:grpSpPr>
          <a:xfrm>
            <a:off x="2639524" y="3161618"/>
            <a:ext cx="504000" cy="504000"/>
            <a:chOff x="791890" y="1347614"/>
            <a:chExt cx="252000" cy="252000"/>
          </a:xfrm>
        </p:grpSpPr>
        <p:sp>
          <p:nvSpPr>
            <p:cNvPr id="49" name="Google Shape;366;p28"/>
            <p:cNvSpPr/>
            <p:nvPr/>
          </p:nvSpPr>
          <p:spPr>
            <a:xfrm>
              <a:off x="836885" y="1392614"/>
              <a:ext cx="162000" cy="162000"/>
            </a:xfrm>
            <a:prstGeom prst="ellipse">
              <a:avLst/>
            </a:prstGeom>
            <a:solidFill>
              <a:srgbClr val="595959"/>
            </a:solidFill>
            <a:ln w="9525" cap="flat" cmpd="sng">
              <a:solidFill>
                <a:srgbClr val="93C4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srgbClr val="7F7F7F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0" name="Google Shape;364;p28"/>
            <p:cNvSpPr/>
            <p:nvPr/>
          </p:nvSpPr>
          <p:spPr>
            <a:xfrm>
              <a:off x="791890" y="1347614"/>
              <a:ext cx="252000" cy="252000"/>
            </a:xfrm>
            <a:prstGeom prst="ellipse">
              <a:avLst/>
            </a:prstGeom>
            <a:noFill/>
            <a:ln w="28575" cap="flat" cmpd="sng">
              <a:solidFill>
                <a:srgbClr val="93C47D">
                  <a:alpha val="49800"/>
                </a:srgb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srgbClr val="7F7F7F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sp>
        <p:nvSpPr>
          <p:cNvPr id="51" name="Google Shape;367;p28"/>
          <p:cNvSpPr txBox="1"/>
          <p:nvPr/>
        </p:nvSpPr>
        <p:spPr>
          <a:xfrm>
            <a:off x="1084366" y="3105916"/>
            <a:ext cx="14658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000" b="1" dirty="0">
                <a:solidFill>
                  <a:srgbClr val="CC0000"/>
                </a:solidFill>
                <a:latin typeface="Oswald"/>
                <a:ea typeface="Oswald"/>
                <a:cs typeface="Oswald"/>
                <a:sym typeface="Oswald"/>
              </a:rPr>
              <a:t>1</a:t>
            </a:r>
            <a:endParaRPr sz="1000" dirty="0">
              <a:solidFill>
                <a:srgbClr val="CC0000"/>
              </a:solidFill>
            </a:endParaRPr>
          </a:p>
        </p:txBody>
      </p:sp>
      <p:sp>
        <p:nvSpPr>
          <p:cNvPr id="68" name="Google Shape;384;p28"/>
          <p:cNvSpPr/>
          <p:nvPr/>
        </p:nvSpPr>
        <p:spPr>
          <a:xfrm>
            <a:off x="3396456" y="3059276"/>
            <a:ext cx="5137944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vi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Xây dựng thuyết minh nhiệm vụ KH&amp;CN</a:t>
            </a:r>
            <a:endParaRPr sz="2600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84366" y="4142889"/>
            <a:ext cx="16837875" cy="1227454"/>
            <a:chOff x="1084366" y="4142889"/>
            <a:chExt cx="16837875" cy="1227454"/>
          </a:xfrm>
        </p:grpSpPr>
        <p:sp>
          <p:nvSpPr>
            <p:cNvPr id="9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Chủ nhiệm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1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ư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ý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chính</a:t>
              </a:r>
              <a:endParaRPr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32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33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43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52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53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4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55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vi" sz="3000" b="1">
                  <a:solidFill>
                    <a:srgbClr val="CC0000"/>
                  </a:solidFill>
                  <a:latin typeface="Oswald"/>
                  <a:ea typeface="Oswald"/>
                  <a:cs typeface="Oswald"/>
                  <a:sym typeface="Oswald"/>
                </a:rPr>
                <a:t>2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69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hảo sát dịch vụ MyTV và các nguồn dữ liệu video hiện có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5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26,67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76" name="Google Shape;603;p32"/>
          <p:cNvSpPr/>
          <p:nvPr/>
        </p:nvSpPr>
        <p:spPr>
          <a:xfrm>
            <a:off x="14985891" y="3134411"/>
            <a:ext cx="3088749" cy="32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625" tIns="45325" rIns="90625" bIns="45325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36,55</a:t>
            </a:r>
            <a:endParaRPr lang="en-US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1084366" y="5628047"/>
            <a:ext cx="16837875" cy="1227454"/>
            <a:chOff x="1084366" y="4142889"/>
            <a:chExt cx="16837875" cy="1227454"/>
          </a:xfrm>
        </p:grpSpPr>
        <p:sp>
          <p:nvSpPr>
            <p:cNvPr id="80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Chủ nhiệm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1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ư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ý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</a:t>
              </a:r>
              <a:endParaRPr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81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89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82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83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87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88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84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3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85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-VN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xu hướng công nghệ, tầm quan trọng và lợi ích trích xuất siêu dữ liệu từ video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86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8,35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1084366" y="7639431"/>
            <a:ext cx="16837875" cy="1227454"/>
            <a:chOff x="1084366" y="4142889"/>
            <a:chExt cx="16837875" cy="1227454"/>
          </a:xfrm>
        </p:grpSpPr>
        <p:sp>
          <p:nvSpPr>
            <p:cNvPr id="93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-VN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 Chủ nhiệm &amp; 01 thư ký &amp; 0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2</a:t>
              </a:r>
              <a:r>
                <a:rPr lang="vi-VN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TV chính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&amp; 0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4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</a:t>
              </a:r>
              <a:endParaRPr lang="vi-VN"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94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102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5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96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100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01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97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4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98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-VN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ứng dụng, thuật toán Machine Learning và Trí tuệ nhân tạo (Artificial Intelligence) trong việc trích xuất siêu dữ liệu từ video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99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51,28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18182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uồ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h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í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Google Shape;531;p31"/>
          <p:cNvSpPr/>
          <p:nvPr/>
        </p:nvSpPr>
        <p:spPr>
          <a:xfrm>
            <a:off x="14665306" y="28955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2" name="Google Shape;603;p32"/>
          <p:cNvSpPr/>
          <p:nvPr/>
        </p:nvSpPr>
        <p:spPr>
          <a:xfrm>
            <a:off x="14665306" y="28955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 b="1" dirty="0">
              <a:solidFill>
                <a:srgbClr val="666666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83" name="Google Shape;604;p32"/>
          <p:cNvSpPr txBox="1"/>
          <p:nvPr/>
        </p:nvSpPr>
        <p:spPr>
          <a:xfrm>
            <a:off x="3356700" y="879530"/>
            <a:ext cx="5038200" cy="86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CC0000"/>
                </a:solidFill>
                <a:latin typeface="Roboto" panose="020B0604020202020204" charset="0"/>
                <a:ea typeface="Roboto" panose="020B0604020202020204" charset="0"/>
                <a:cs typeface="Roboto"/>
                <a:sym typeface="Roboto"/>
              </a:rPr>
              <a:t>Công việc</a:t>
            </a:r>
            <a:endParaRPr sz="3200" b="1" dirty="0">
              <a:solidFill>
                <a:srgbClr val="CC0000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84" name="Google Shape;605;p32"/>
          <p:cNvSpPr txBox="1"/>
          <p:nvPr/>
        </p:nvSpPr>
        <p:spPr>
          <a:xfrm>
            <a:off x="8993100" y="879531"/>
            <a:ext cx="4869000" cy="1354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chemeClr val="accent1"/>
                </a:solidFill>
                <a:latin typeface="Roboto" panose="020B0604020202020204" charset="0"/>
                <a:ea typeface="Roboto" panose="020B0604020202020204" charset="0"/>
                <a:cs typeface="Roboto"/>
                <a:sym typeface="Roboto"/>
              </a:rPr>
              <a:t>Cá nhân, tổ chức</a:t>
            </a:r>
            <a:endParaRPr sz="3200" b="1" dirty="0">
              <a:solidFill>
                <a:schemeClr val="accent1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chemeClr val="accent1"/>
                </a:solidFill>
                <a:latin typeface="Roboto" panose="020B0604020202020204" charset="0"/>
                <a:ea typeface="Roboto" panose="020B0604020202020204" charset="0"/>
                <a:cs typeface="Roboto"/>
                <a:sym typeface="Roboto"/>
              </a:rPr>
              <a:t>thực hiện</a:t>
            </a:r>
            <a:endParaRPr sz="3200" b="1" dirty="0">
              <a:solidFill>
                <a:schemeClr val="accent1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85" name="Google Shape;606;p32"/>
          <p:cNvSpPr txBox="1"/>
          <p:nvPr/>
        </p:nvSpPr>
        <p:spPr>
          <a:xfrm>
            <a:off x="13893400" y="879531"/>
            <a:ext cx="4202400" cy="1354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FF9900"/>
                </a:solidFill>
                <a:latin typeface="Roboto" panose="020B0604020202020204" charset="0"/>
                <a:ea typeface="Roboto" panose="020B0604020202020204" charset="0"/>
                <a:cs typeface="Roboto"/>
                <a:sym typeface="Roboto"/>
              </a:rPr>
              <a:t>Dự kiến kinh phí</a:t>
            </a:r>
            <a:endParaRPr sz="3200" b="1" dirty="0">
              <a:solidFill>
                <a:srgbClr val="FF9900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vi" sz="3200" b="1" dirty="0">
                <a:solidFill>
                  <a:srgbClr val="FF9900"/>
                </a:solidFill>
                <a:latin typeface="Roboto" panose="020B0604020202020204" charset="0"/>
                <a:ea typeface="Roboto" panose="020B0604020202020204" charset="0"/>
                <a:cs typeface="Roboto"/>
                <a:sym typeface="Roboto"/>
              </a:rPr>
              <a:t>(triệu đồng)</a:t>
            </a:r>
            <a:endParaRPr sz="3200" b="1" dirty="0">
              <a:solidFill>
                <a:srgbClr val="FF9900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cxnSp>
        <p:nvCxnSpPr>
          <p:cNvPr id="111" name="Google Shape;420;p29"/>
          <p:cNvCxnSpPr>
            <a:stCxn id="206" idx="4"/>
          </p:cNvCxnSpPr>
          <p:nvPr/>
        </p:nvCxnSpPr>
        <p:spPr>
          <a:xfrm flipH="1" flipV="1">
            <a:off x="2957784" y="2557671"/>
            <a:ext cx="16524" cy="6031698"/>
          </a:xfrm>
          <a:prstGeom prst="straightConnector1">
            <a:avLst/>
          </a:prstGeom>
          <a:solidFill>
            <a:srgbClr val="E6D2B9"/>
          </a:solidFill>
          <a:ln w="38100" cap="flat" cmpd="sng">
            <a:solidFill>
              <a:srgbClr val="93C47D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7" name="Group 86"/>
          <p:cNvGrpSpPr/>
          <p:nvPr/>
        </p:nvGrpSpPr>
        <p:grpSpPr>
          <a:xfrm>
            <a:off x="1139562" y="2402482"/>
            <a:ext cx="16837875" cy="1227454"/>
            <a:chOff x="1084366" y="4142889"/>
            <a:chExt cx="16837875" cy="1227454"/>
          </a:xfrm>
        </p:grpSpPr>
        <p:sp>
          <p:nvSpPr>
            <p:cNvPr id="88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-VN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 Chủ nhiệm</a:t>
              </a:r>
              <a:endParaRPr lang="vi-VN"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89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156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7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8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10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128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136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53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29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5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130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-VN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Nghiên cứu lựa chọn công nghệ tối ưu cho mô hình trích xuất siêu dữ liệu từ video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31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9,75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1141760" y="3866223"/>
            <a:ext cx="16837875" cy="1227454"/>
            <a:chOff x="1084366" y="4142889"/>
            <a:chExt cx="16837875" cy="1227454"/>
          </a:xfrm>
        </p:grpSpPr>
        <p:sp>
          <p:nvSpPr>
            <p:cNvPr id="160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Chủ nhiệm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1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ư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ý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chính</a:t>
              </a:r>
              <a:endParaRPr sz="24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161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169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0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1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62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163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167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68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64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6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165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iết kế hệ thống nhận dạng và trích xuất siêu dữ liệu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66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7,04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1141760" y="5153772"/>
            <a:ext cx="16837875" cy="1227454"/>
            <a:chOff x="1084366" y="4142889"/>
            <a:chExt cx="16837875" cy="1227454"/>
          </a:xfrm>
        </p:grpSpPr>
        <p:sp>
          <p:nvSpPr>
            <p:cNvPr id="173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Chủ nhiệm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1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ư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ý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&amp; 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3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chính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&amp; 02 TV</a:t>
              </a:r>
            </a:p>
          </p:txBody>
        </p:sp>
        <p:grpSp>
          <p:nvGrpSpPr>
            <p:cNvPr id="174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182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3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4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75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176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180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81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77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7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178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ử nghiệm hệ thống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9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23,74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1139562" y="6358462"/>
            <a:ext cx="16837875" cy="1227454"/>
            <a:chOff x="1084366" y="4142889"/>
            <a:chExt cx="16837875" cy="1227454"/>
          </a:xfrm>
        </p:grpSpPr>
        <p:sp>
          <p:nvSpPr>
            <p:cNvPr id="186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1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hư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 dirty="0" err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ký</a:t>
              </a:r>
              <a:r>
                <a:rPr lang="vi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&amp; 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4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chính</a:t>
              </a:r>
              <a:endParaRPr lang="en-US" sz="240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187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195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88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189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193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94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190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8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191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6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Xây dựng tài liệu sản phẩm cho hệ thống</a:t>
              </a:r>
              <a:endParaRPr lang="en-US" sz="2600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92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24,70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1167160" y="7813642"/>
            <a:ext cx="16837875" cy="1227454"/>
            <a:chOff x="1084366" y="4142889"/>
            <a:chExt cx="16837875" cy="1227454"/>
          </a:xfrm>
        </p:grpSpPr>
        <p:sp>
          <p:nvSpPr>
            <p:cNvPr id="199" name="Google Shape;524;p31"/>
            <p:cNvSpPr/>
            <p:nvPr/>
          </p:nvSpPr>
          <p:spPr>
            <a:xfrm>
              <a:off x="9691012" y="4313050"/>
              <a:ext cx="4202400" cy="8871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0</a:t>
              </a:r>
              <a:r>
                <a:rPr lang="en-US" sz="2400" dirty="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6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n-US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TV </a:t>
              </a:r>
              <a:r>
                <a:rPr lang="vi" sz="2400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chính</a:t>
              </a:r>
              <a:endParaRPr lang="en-US" sz="240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200" name="Google Shape;547;p31"/>
            <p:cNvGrpSpPr/>
            <p:nvPr/>
          </p:nvGrpSpPr>
          <p:grpSpPr>
            <a:xfrm>
              <a:off x="13949751" y="4433516"/>
              <a:ext cx="627950" cy="646200"/>
              <a:chOff x="656" y="6773"/>
              <a:chExt cx="380" cy="366"/>
            </a:xfrm>
          </p:grpSpPr>
          <p:sp>
            <p:nvSpPr>
              <p:cNvPr id="208" name="Google Shape;548;p31"/>
              <p:cNvSpPr/>
              <p:nvPr/>
            </p:nvSpPr>
            <p:spPr>
              <a:xfrm>
                <a:off x="686" y="7040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4"/>
                    </a:lnTo>
                    <a:lnTo>
                      <a:pt x="53" y="11"/>
                    </a:lnTo>
                    <a:lnTo>
                      <a:pt x="58" y="21"/>
                    </a:lnTo>
                    <a:lnTo>
                      <a:pt x="72" y="57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4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8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6"/>
                    </a:lnTo>
                    <a:lnTo>
                      <a:pt x="432" y="380"/>
                    </a:lnTo>
                    <a:lnTo>
                      <a:pt x="490" y="410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7"/>
                    </a:lnTo>
                    <a:lnTo>
                      <a:pt x="733" y="491"/>
                    </a:lnTo>
                    <a:lnTo>
                      <a:pt x="791" y="503"/>
                    </a:lnTo>
                    <a:lnTo>
                      <a:pt x="845" y="512"/>
                    </a:lnTo>
                    <a:lnTo>
                      <a:pt x="896" y="518"/>
                    </a:lnTo>
                    <a:lnTo>
                      <a:pt x="942" y="524"/>
                    </a:lnTo>
                    <a:lnTo>
                      <a:pt x="981" y="527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70"/>
                    </a:lnTo>
                    <a:lnTo>
                      <a:pt x="999" y="578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3"/>
                    </a:lnTo>
                    <a:lnTo>
                      <a:pt x="799" y="564"/>
                    </a:lnTo>
                    <a:lnTo>
                      <a:pt x="746" y="555"/>
                    </a:lnTo>
                    <a:lnTo>
                      <a:pt x="690" y="541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1"/>
                    </a:lnTo>
                    <a:lnTo>
                      <a:pt x="356" y="404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9"/>
                    </a:lnTo>
                    <a:lnTo>
                      <a:pt x="176" y="272"/>
                    </a:lnTo>
                    <a:lnTo>
                      <a:pt x="135" y="235"/>
                    </a:lnTo>
                    <a:lnTo>
                      <a:pt x="99" y="197"/>
                    </a:lnTo>
                    <a:lnTo>
                      <a:pt x="66" y="157"/>
                    </a:lnTo>
                    <a:lnTo>
                      <a:pt x="38" y="117"/>
                    </a:lnTo>
                    <a:lnTo>
                      <a:pt x="16" y="78"/>
                    </a:lnTo>
                    <a:lnTo>
                      <a:pt x="1" y="38"/>
                    </a:lnTo>
                    <a:lnTo>
                      <a:pt x="0" y="27"/>
                    </a:lnTo>
                    <a:lnTo>
                      <a:pt x="3" y="15"/>
                    </a:lnTo>
                    <a:lnTo>
                      <a:pt x="11" y="7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9" name="Google Shape;549;p31"/>
              <p:cNvSpPr/>
              <p:nvPr/>
            </p:nvSpPr>
            <p:spPr>
              <a:xfrm>
                <a:off x="656" y="6773"/>
                <a:ext cx="380" cy="366"/>
              </a:xfrm>
              <a:custGeom>
                <a:avLst/>
                <a:gdLst/>
                <a:ahLst/>
                <a:cxnLst/>
                <a:rect l="l" t="t" r="r" b="b"/>
                <a:pathLst>
                  <a:path w="3452" h="3323" extrusionOk="0">
                    <a:moveTo>
                      <a:pt x="224" y="2163"/>
                    </a:moveTo>
                    <a:lnTo>
                      <a:pt x="192" y="2207"/>
                    </a:lnTo>
                    <a:lnTo>
                      <a:pt x="165" y="2252"/>
                    </a:lnTo>
                    <a:lnTo>
                      <a:pt x="146" y="2297"/>
                    </a:lnTo>
                    <a:lnTo>
                      <a:pt x="131" y="2342"/>
                    </a:lnTo>
                    <a:lnTo>
                      <a:pt x="121" y="2388"/>
                    </a:lnTo>
                    <a:lnTo>
                      <a:pt x="119" y="2433"/>
                    </a:lnTo>
                    <a:lnTo>
                      <a:pt x="123" y="2482"/>
                    </a:lnTo>
                    <a:lnTo>
                      <a:pt x="132" y="2531"/>
                    </a:lnTo>
                    <a:lnTo>
                      <a:pt x="149" y="2579"/>
                    </a:lnTo>
                    <a:lnTo>
                      <a:pt x="172" y="2627"/>
                    </a:lnTo>
                    <a:lnTo>
                      <a:pt x="201" y="2674"/>
                    </a:lnTo>
                    <a:lnTo>
                      <a:pt x="237" y="2720"/>
                    </a:lnTo>
                    <a:lnTo>
                      <a:pt x="279" y="2764"/>
                    </a:lnTo>
                    <a:lnTo>
                      <a:pt x="326" y="2808"/>
                    </a:lnTo>
                    <a:lnTo>
                      <a:pt x="379" y="2850"/>
                    </a:lnTo>
                    <a:lnTo>
                      <a:pt x="438" y="2890"/>
                    </a:lnTo>
                    <a:lnTo>
                      <a:pt x="503" y="2930"/>
                    </a:lnTo>
                    <a:lnTo>
                      <a:pt x="574" y="2966"/>
                    </a:lnTo>
                    <a:lnTo>
                      <a:pt x="652" y="3004"/>
                    </a:lnTo>
                    <a:lnTo>
                      <a:pt x="735" y="3038"/>
                    </a:lnTo>
                    <a:lnTo>
                      <a:pt x="822" y="3069"/>
                    </a:lnTo>
                    <a:lnTo>
                      <a:pt x="912" y="3097"/>
                    </a:lnTo>
                    <a:lnTo>
                      <a:pt x="1005" y="3121"/>
                    </a:lnTo>
                    <a:lnTo>
                      <a:pt x="1102" y="3143"/>
                    </a:lnTo>
                    <a:lnTo>
                      <a:pt x="1200" y="3162"/>
                    </a:lnTo>
                    <a:lnTo>
                      <a:pt x="1302" y="3176"/>
                    </a:lnTo>
                    <a:lnTo>
                      <a:pt x="1404" y="3189"/>
                    </a:lnTo>
                    <a:lnTo>
                      <a:pt x="1510" y="3197"/>
                    </a:lnTo>
                    <a:lnTo>
                      <a:pt x="1617" y="3203"/>
                    </a:lnTo>
                    <a:lnTo>
                      <a:pt x="1726" y="3205"/>
                    </a:lnTo>
                    <a:lnTo>
                      <a:pt x="1834" y="3203"/>
                    </a:lnTo>
                    <a:lnTo>
                      <a:pt x="1941" y="3197"/>
                    </a:lnTo>
                    <a:lnTo>
                      <a:pt x="2046" y="3189"/>
                    </a:lnTo>
                    <a:lnTo>
                      <a:pt x="2150" y="3176"/>
                    </a:lnTo>
                    <a:lnTo>
                      <a:pt x="2252" y="3162"/>
                    </a:lnTo>
                    <a:lnTo>
                      <a:pt x="2350" y="3143"/>
                    </a:lnTo>
                    <a:lnTo>
                      <a:pt x="2446" y="3121"/>
                    </a:lnTo>
                    <a:lnTo>
                      <a:pt x="2540" y="3097"/>
                    </a:lnTo>
                    <a:lnTo>
                      <a:pt x="2629" y="3069"/>
                    </a:lnTo>
                    <a:lnTo>
                      <a:pt x="2716" y="3038"/>
                    </a:lnTo>
                    <a:lnTo>
                      <a:pt x="2798" y="3004"/>
                    </a:lnTo>
                    <a:lnTo>
                      <a:pt x="2877" y="2966"/>
                    </a:lnTo>
                    <a:lnTo>
                      <a:pt x="2948" y="2930"/>
                    </a:lnTo>
                    <a:lnTo>
                      <a:pt x="3013" y="2890"/>
                    </a:lnTo>
                    <a:lnTo>
                      <a:pt x="3072" y="2850"/>
                    </a:lnTo>
                    <a:lnTo>
                      <a:pt x="3125" y="2808"/>
                    </a:lnTo>
                    <a:lnTo>
                      <a:pt x="3172" y="2764"/>
                    </a:lnTo>
                    <a:lnTo>
                      <a:pt x="3214" y="2720"/>
                    </a:lnTo>
                    <a:lnTo>
                      <a:pt x="3250" y="2674"/>
                    </a:lnTo>
                    <a:lnTo>
                      <a:pt x="3279" y="2627"/>
                    </a:lnTo>
                    <a:lnTo>
                      <a:pt x="3302" y="2579"/>
                    </a:lnTo>
                    <a:lnTo>
                      <a:pt x="3319" y="2531"/>
                    </a:lnTo>
                    <a:lnTo>
                      <a:pt x="3328" y="2482"/>
                    </a:lnTo>
                    <a:lnTo>
                      <a:pt x="3331" y="2433"/>
                    </a:lnTo>
                    <a:lnTo>
                      <a:pt x="3329" y="2388"/>
                    </a:lnTo>
                    <a:lnTo>
                      <a:pt x="3320" y="2342"/>
                    </a:lnTo>
                    <a:lnTo>
                      <a:pt x="3305" y="2297"/>
                    </a:lnTo>
                    <a:lnTo>
                      <a:pt x="3284" y="2252"/>
                    </a:lnTo>
                    <a:lnTo>
                      <a:pt x="3257" y="2207"/>
                    </a:lnTo>
                    <a:lnTo>
                      <a:pt x="3225" y="2163"/>
                    </a:lnTo>
                    <a:lnTo>
                      <a:pt x="3175" y="2206"/>
                    </a:lnTo>
                    <a:lnTo>
                      <a:pt x="3121" y="2247"/>
                    </a:lnTo>
                    <a:lnTo>
                      <a:pt x="3061" y="2287"/>
                    </a:lnTo>
                    <a:lnTo>
                      <a:pt x="2997" y="2324"/>
                    </a:lnTo>
                    <a:lnTo>
                      <a:pt x="2928" y="2361"/>
                    </a:lnTo>
                    <a:lnTo>
                      <a:pt x="2845" y="2399"/>
                    </a:lnTo>
                    <a:lnTo>
                      <a:pt x="2759" y="2435"/>
                    </a:lnTo>
                    <a:lnTo>
                      <a:pt x="2668" y="2467"/>
                    </a:lnTo>
                    <a:lnTo>
                      <a:pt x="2574" y="2496"/>
                    </a:lnTo>
                    <a:lnTo>
                      <a:pt x="2477" y="2523"/>
                    </a:lnTo>
                    <a:lnTo>
                      <a:pt x="2376" y="2546"/>
                    </a:lnTo>
                    <a:lnTo>
                      <a:pt x="2273" y="2564"/>
                    </a:lnTo>
                    <a:lnTo>
                      <a:pt x="2167" y="2581"/>
                    </a:lnTo>
                    <a:lnTo>
                      <a:pt x="2059" y="2594"/>
                    </a:lnTo>
                    <a:lnTo>
                      <a:pt x="1949" y="2602"/>
                    </a:lnTo>
                    <a:lnTo>
                      <a:pt x="1837" y="2608"/>
                    </a:lnTo>
                    <a:lnTo>
                      <a:pt x="1724" y="2609"/>
                    </a:lnTo>
                    <a:lnTo>
                      <a:pt x="1612" y="2608"/>
                    </a:lnTo>
                    <a:lnTo>
                      <a:pt x="1500" y="2603"/>
                    </a:lnTo>
                    <a:lnTo>
                      <a:pt x="1390" y="2594"/>
                    </a:lnTo>
                    <a:lnTo>
                      <a:pt x="1282" y="2581"/>
                    </a:lnTo>
                    <a:lnTo>
                      <a:pt x="1176" y="2565"/>
                    </a:lnTo>
                    <a:lnTo>
                      <a:pt x="1073" y="2546"/>
                    </a:lnTo>
                    <a:lnTo>
                      <a:pt x="972" y="2523"/>
                    </a:lnTo>
                    <a:lnTo>
                      <a:pt x="874" y="2496"/>
                    </a:lnTo>
                    <a:lnTo>
                      <a:pt x="780" y="2467"/>
                    </a:lnTo>
                    <a:lnTo>
                      <a:pt x="690" y="2435"/>
                    </a:lnTo>
                    <a:lnTo>
                      <a:pt x="603" y="2399"/>
                    </a:lnTo>
                    <a:lnTo>
                      <a:pt x="520" y="2361"/>
                    </a:lnTo>
                    <a:lnTo>
                      <a:pt x="451" y="2324"/>
                    </a:lnTo>
                    <a:lnTo>
                      <a:pt x="387" y="2287"/>
                    </a:lnTo>
                    <a:lnTo>
                      <a:pt x="329" y="2247"/>
                    </a:lnTo>
                    <a:lnTo>
                      <a:pt x="273" y="2206"/>
                    </a:lnTo>
                    <a:lnTo>
                      <a:pt x="224" y="2163"/>
                    </a:lnTo>
                    <a:close/>
                    <a:moveTo>
                      <a:pt x="3166" y="1384"/>
                    </a:moveTo>
                    <a:lnTo>
                      <a:pt x="3114" y="1423"/>
                    </a:lnTo>
                    <a:lnTo>
                      <a:pt x="3056" y="1460"/>
                    </a:lnTo>
                    <a:lnTo>
                      <a:pt x="2995" y="1497"/>
                    </a:lnTo>
                    <a:lnTo>
                      <a:pt x="2929" y="1531"/>
                    </a:lnTo>
                    <a:lnTo>
                      <a:pt x="2846" y="1570"/>
                    </a:lnTo>
                    <a:lnTo>
                      <a:pt x="2760" y="1605"/>
                    </a:lnTo>
                    <a:lnTo>
                      <a:pt x="2669" y="1638"/>
                    </a:lnTo>
                    <a:lnTo>
                      <a:pt x="2575" y="1667"/>
                    </a:lnTo>
                    <a:lnTo>
                      <a:pt x="2478" y="1693"/>
                    </a:lnTo>
                    <a:lnTo>
                      <a:pt x="2377" y="1715"/>
                    </a:lnTo>
                    <a:lnTo>
                      <a:pt x="2274" y="1735"/>
                    </a:lnTo>
                    <a:lnTo>
                      <a:pt x="2168" y="1752"/>
                    </a:lnTo>
                    <a:lnTo>
                      <a:pt x="2060" y="1764"/>
                    </a:lnTo>
                    <a:lnTo>
                      <a:pt x="1950" y="1773"/>
                    </a:lnTo>
                    <a:lnTo>
                      <a:pt x="1838" y="1779"/>
                    </a:lnTo>
                    <a:lnTo>
                      <a:pt x="1726" y="1780"/>
                    </a:lnTo>
                    <a:lnTo>
                      <a:pt x="1613" y="1779"/>
                    </a:lnTo>
                    <a:lnTo>
                      <a:pt x="1501" y="1773"/>
                    </a:lnTo>
                    <a:lnTo>
                      <a:pt x="1392" y="1764"/>
                    </a:lnTo>
                    <a:lnTo>
                      <a:pt x="1283" y="1752"/>
                    </a:lnTo>
                    <a:lnTo>
                      <a:pt x="1177" y="1735"/>
                    </a:lnTo>
                    <a:lnTo>
                      <a:pt x="1075" y="1716"/>
                    </a:lnTo>
                    <a:lnTo>
                      <a:pt x="974" y="1693"/>
                    </a:lnTo>
                    <a:lnTo>
                      <a:pt x="876" y="1667"/>
                    </a:lnTo>
                    <a:lnTo>
                      <a:pt x="781" y="1638"/>
                    </a:lnTo>
                    <a:lnTo>
                      <a:pt x="691" y="1605"/>
                    </a:lnTo>
                    <a:lnTo>
                      <a:pt x="604" y="1570"/>
                    </a:lnTo>
                    <a:lnTo>
                      <a:pt x="522" y="1531"/>
                    </a:lnTo>
                    <a:lnTo>
                      <a:pt x="457" y="1497"/>
                    </a:lnTo>
                    <a:lnTo>
                      <a:pt x="395" y="1460"/>
                    </a:lnTo>
                    <a:lnTo>
                      <a:pt x="338" y="1424"/>
                    </a:lnTo>
                    <a:lnTo>
                      <a:pt x="286" y="1385"/>
                    </a:lnTo>
                    <a:lnTo>
                      <a:pt x="284" y="1387"/>
                    </a:lnTo>
                    <a:lnTo>
                      <a:pt x="282" y="1389"/>
                    </a:lnTo>
                    <a:lnTo>
                      <a:pt x="240" y="1434"/>
                    </a:lnTo>
                    <a:lnTo>
                      <a:pt x="203" y="1481"/>
                    </a:lnTo>
                    <a:lnTo>
                      <a:pt x="174" y="1528"/>
                    </a:lnTo>
                    <a:lnTo>
                      <a:pt x="150" y="1576"/>
                    </a:lnTo>
                    <a:lnTo>
                      <a:pt x="133" y="1624"/>
                    </a:lnTo>
                    <a:lnTo>
                      <a:pt x="123" y="1672"/>
                    </a:lnTo>
                    <a:lnTo>
                      <a:pt x="119" y="1720"/>
                    </a:lnTo>
                    <a:lnTo>
                      <a:pt x="123" y="1770"/>
                    </a:lnTo>
                    <a:lnTo>
                      <a:pt x="132" y="1820"/>
                    </a:lnTo>
                    <a:lnTo>
                      <a:pt x="149" y="1868"/>
                    </a:lnTo>
                    <a:lnTo>
                      <a:pt x="172" y="1915"/>
                    </a:lnTo>
                    <a:lnTo>
                      <a:pt x="201" y="1962"/>
                    </a:lnTo>
                    <a:lnTo>
                      <a:pt x="237" y="2008"/>
                    </a:lnTo>
                    <a:lnTo>
                      <a:pt x="279" y="2053"/>
                    </a:lnTo>
                    <a:lnTo>
                      <a:pt x="326" y="2095"/>
                    </a:lnTo>
                    <a:lnTo>
                      <a:pt x="379" y="2138"/>
                    </a:lnTo>
                    <a:lnTo>
                      <a:pt x="438" y="2179"/>
                    </a:lnTo>
                    <a:lnTo>
                      <a:pt x="503" y="2218"/>
                    </a:lnTo>
                    <a:lnTo>
                      <a:pt x="574" y="2255"/>
                    </a:lnTo>
                    <a:lnTo>
                      <a:pt x="652" y="2292"/>
                    </a:lnTo>
                    <a:lnTo>
                      <a:pt x="735" y="2325"/>
                    </a:lnTo>
                    <a:lnTo>
                      <a:pt x="822" y="2356"/>
                    </a:lnTo>
                    <a:lnTo>
                      <a:pt x="912" y="2385"/>
                    </a:lnTo>
                    <a:lnTo>
                      <a:pt x="1005" y="2410"/>
                    </a:lnTo>
                    <a:lnTo>
                      <a:pt x="1102" y="2431"/>
                    </a:lnTo>
                    <a:lnTo>
                      <a:pt x="1200" y="2449"/>
                    </a:lnTo>
                    <a:lnTo>
                      <a:pt x="1302" y="2465"/>
                    </a:lnTo>
                    <a:lnTo>
                      <a:pt x="1404" y="2477"/>
                    </a:lnTo>
                    <a:lnTo>
                      <a:pt x="1510" y="2485"/>
                    </a:lnTo>
                    <a:lnTo>
                      <a:pt x="1617" y="2490"/>
                    </a:lnTo>
                    <a:lnTo>
                      <a:pt x="1726" y="2492"/>
                    </a:lnTo>
                    <a:lnTo>
                      <a:pt x="1834" y="2490"/>
                    </a:lnTo>
                    <a:lnTo>
                      <a:pt x="1941" y="2485"/>
                    </a:lnTo>
                    <a:lnTo>
                      <a:pt x="2046" y="2477"/>
                    </a:lnTo>
                    <a:lnTo>
                      <a:pt x="2150" y="2465"/>
                    </a:lnTo>
                    <a:lnTo>
                      <a:pt x="2252" y="2449"/>
                    </a:lnTo>
                    <a:lnTo>
                      <a:pt x="2350" y="2431"/>
                    </a:lnTo>
                    <a:lnTo>
                      <a:pt x="2446" y="2410"/>
                    </a:lnTo>
                    <a:lnTo>
                      <a:pt x="2540" y="2385"/>
                    </a:lnTo>
                    <a:lnTo>
                      <a:pt x="2629" y="2356"/>
                    </a:lnTo>
                    <a:lnTo>
                      <a:pt x="2716" y="2325"/>
                    </a:lnTo>
                    <a:lnTo>
                      <a:pt x="2798" y="2292"/>
                    </a:lnTo>
                    <a:lnTo>
                      <a:pt x="2877" y="2255"/>
                    </a:lnTo>
                    <a:lnTo>
                      <a:pt x="2948" y="2218"/>
                    </a:lnTo>
                    <a:lnTo>
                      <a:pt x="3013" y="2179"/>
                    </a:lnTo>
                    <a:lnTo>
                      <a:pt x="3072" y="2138"/>
                    </a:lnTo>
                    <a:lnTo>
                      <a:pt x="3125" y="2095"/>
                    </a:lnTo>
                    <a:lnTo>
                      <a:pt x="3172" y="2053"/>
                    </a:lnTo>
                    <a:lnTo>
                      <a:pt x="3214" y="2008"/>
                    </a:lnTo>
                    <a:lnTo>
                      <a:pt x="3250" y="1962"/>
                    </a:lnTo>
                    <a:lnTo>
                      <a:pt x="3279" y="1915"/>
                    </a:lnTo>
                    <a:lnTo>
                      <a:pt x="3302" y="1868"/>
                    </a:lnTo>
                    <a:lnTo>
                      <a:pt x="3319" y="1820"/>
                    </a:lnTo>
                    <a:lnTo>
                      <a:pt x="3328" y="1770"/>
                    </a:lnTo>
                    <a:lnTo>
                      <a:pt x="3331" y="1720"/>
                    </a:lnTo>
                    <a:lnTo>
                      <a:pt x="3328" y="1672"/>
                    </a:lnTo>
                    <a:lnTo>
                      <a:pt x="3318" y="1624"/>
                    </a:lnTo>
                    <a:lnTo>
                      <a:pt x="3301" y="1575"/>
                    </a:lnTo>
                    <a:lnTo>
                      <a:pt x="3278" y="1528"/>
                    </a:lnTo>
                    <a:lnTo>
                      <a:pt x="3249" y="1480"/>
                    </a:lnTo>
                    <a:lnTo>
                      <a:pt x="3212" y="1434"/>
                    </a:lnTo>
                    <a:lnTo>
                      <a:pt x="3170" y="1388"/>
                    </a:lnTo>
                    <a:lnTo>
                      <a:pt x="3168" y="1386"/>
                    </a:lnTo>
                    <a:lnTo>
                      <a:pt x="3166" y="1384"/>
                    </a:lnTo>
                    <a:close/>
                    <a:moveTo>
                      <a:pt x="1726" y="119"/>
                    </a:moveTo>
                    <a:lnTo>
                      <a:pt x="1617" y="120"/>
                    </a:lnTo>
                    <a:lnTo>
                      <a:pt x="1510" y="125"/>
                    </a:lnTo>
                    <a:lnTo>
                      <a:pt x="1404" y="134"/>
                    </a:lnTo>
                    <a:lnTo>
                      <a:pt x="1302" y="146"/>
                    </a:lnTo>
                    <a:lnTo>
                      <a:pt x="1200" y="162"/>
                    </a:lnTo>
                    <a:lnTo>
                      <a:pt x="1102" y="180"/>
                    </a:lnTo>
                    <a:lnTo>
                      <a:pt x="1005" y="202"/>
                    </a:lnTo>
                    <a:lnTo>
                      <a:pt x="912" y="227"/>
                    </a:lnTo>
                    <a:lnTo>
                      <a:pt x="822" y="254"/>
                    </a:lnTo>
                    <a:lnTo>
                      <a:pt x="735" y="285"/>
                    </a:lnTo>
                    <a:lnTo>
                      <a:pt x="652" y="320"/>
                    </a:lnTo>
                    <a:lnTo>
                      <a:pt x="574" y="356"/>
                    </a:lnTo>
                    <a:lnTo>
                      <a:pt x="503" y="394"/>
                    </a:lnTo>
                    <a:lnTo>
                      <a:pt x="438" y="432"/>
                    </a:lnTo>
                    <a:lnTo>
                      <a:pt x="379" y="473"/>
                    </a:lnTo>
                    <a:lnTo>
                      <a:pt x="326" y="515"/>
                    </a:lnTo>
                    <a:lnTo>
                      <a:pt x="279" y="559"/>
                    </a:lnTo>
                    <a:lnTo>
                      <a:pt x="237" y="604"/>
                    </a:lnTo>
                    <a:lnTo>
                      <a:pt x="201" y="650"/>
                    </a:lnTo>
                    <a:lnTo>
                      <a:pt x="172" y="696"/>
                    </a:lnTo>
                    <a:lnTo>
                      <a:pt x="149" y="744"/>
                    </a:lnTo>
                    <a:lnTo>
                      <a:pt x="132" y="792"/>
                    </a:lnTo>
                    <a:lnTo>
                      <a:pt x="123" y="841"/>
                    </a:lnTo>
                    <a:lnTo>
                      <a:pt x="119" y="890"/>
                    </a:lnTo>
                    <a:lnTo>
                      <a:pt x="123" y="939"/>
                    </a:lnTo>
                    <a:lnTo>
                      <a:pt x="132" y="988"/>
                    </a:lnTo>
                    <a:lnTo>
                      <a:pt x="149" y="1036"/>
                    </a:lnTo>
                    <a:lnTo>
                      <a:pt x="172" y="1084"/>
                    </a:lnTo>
                    <a:lnTo>
                      <a:pt x="201" y="1131"/>
                    </a:lnTo>
                    <a:lnTo>
                      <a:pt x="237" y="1177"/>
                    </a:lnTo>
                    <a:lnTo>
                      <a:pt x="279" y="1221"/>
                    </a:lnTo>
                    <a:lnTo>
                      <a:pt x="326" y="1265"/>
                    </a:lnTo>
                    <a:lnTo>
                      <a:pt x="379" y="1307"/>
                    </a:lnTo>
                    <a:lnTo>
                      <a:pt x="438" y="1347"/>
                    </a:lnTo>
                    <a:lnTo>
                      <a:pt x="503" y="1387"/>
                    </a:lnTo>
                    <a:lnTo>
                      <a:pt x="574" y="1424"/>
                    </a:lnTo>
                    <a:lnTo>
                      <a:pt x="652" y="1461"/>
                    </a:lnTo>
                    <a:lnTo>
                      <a:pt x="735" y="1495"/>
                    </a:lnTo>
                    <a:lnTo>
                      <a:pt x="822" y="1526"/>
                    </a:lnTo>
                    <a:lnTo>
                      <a:pt x="912" y="1553"/>
                    </a:lnTo>
                    <a:lnTo>
                      <a:pt x="1005" y="1578"/>
                    </a:lnTo>
                    <a:lnTo>
                      <a:pt x="1102" y="1600"/>
                    </a:lnTo>
                    <a:lnTo>
                      <a:pt x="1200" y="1619"/>
                    </a:lnTo>
                    <a:lnTo>
                      <a:pt x="1302" y="1634"/>
                    </a:lnTo>
                    <a:lnTo>
                      <a:pt x="1404" y="1646"/>
                    </a:lnTo>
                    <a:lnTo>
                      <a:pt x="1510" y="1655"/>
                    </a:lnTo>
                    <a:lnTo>
                      <a:pt x="1617" y="1660"/>
                    </a:lnTo>
                    <a:lnTo>
                      <a:pt x="1726" y="1662"/>
                    </a:lnTo>
                    <a:lnTo>
                      <a:pt x="1834" y="1660"/>
                    </a:lnTo>
                    <a:lnTo>
                      <a:pt x="1941" y="1655"/>
                    </a:lnTo>
                    <a:lnTo>
                      <a:pt x="2046" y="1646"/>
                    </a:lnTo>
                    <a:lnTo>
                      <a:pt x="2150" y="1634"/>
                    </a:lnTo>
                    <a:lnTo>
                      <a:pt x="2252" y="1619"/>
                    </a:lnTo>
                    <a:lnTo>
                      <a:pt x="2350" y="1600"/>
                    </a:lnTo>
                    <a:lnTo>
                      <a:pt x="2446" y="1578"/>
                    </a:lnTo>
                    <a:lnTo>
                      <a:pt x="2540" y="1553"/>
                    </a:lnTo>
                    <a:lnTo>
                      <a:pt x="2629" y="1526"/>
                    </a:lnTo>
                    <a:lnTo>
                      <a:pt x="2716" y="1495"/>
                    </a:lnTo>
                    <a:lnTo>
                      <a:pt x="2798" y="1461"/>
                    </a:lnTo>
                    <a:lnTo>
                      <a:pt x="2877" y="1424"/>
                    </a:lnTo>
                    <a:lnTo>
                      <a:pt x="2948" y="1387"/>
                    </a:lnTo>
                    <a:lnTo>
                      <a:pt x="3013" y="1347"/>
                    </a:lnTo>
                    <a:lnTo>
                      <a:pt x="3072" y="1307"/>
                    </a:lnTo>
                    <a:lnTo>
                      <a:pt x="3125" y="1265"/>
                    </a:lnTo>
                    <a:lnTo>
                      <a:pt x="3172" y="1221"/>
                    </a:lnTo>
                    <a:lnTo>
                      <a:pt x="3214" y="1177"/>
                    </a:lnTo>
                    <a:lnTo>
                      <a:pt x="3250" y="1131"/>
                    </a:lnTo>
                    <a:lnTo>
                      <a:pt x="3279" y="1084"/>
                    </a:lnTo>
                    <a:lnTo>
                      <a:pt x="3302" y="1036"/>
                    </a:lnTo>
                    <a:lnTo>
                      <a:pt x="3319" y="988"/>
                    </a:lnTo>
                    <a:lnTo>
                      <a:pt x="3328" y="939"/>
                    </a:lnTo>
                    <a:lnTo>
                      <a:pt x="3331" y="890"/>
                    </a:lnTo>
                    <a:lnTo>
                      <a:pt x="3328" y="841"/>
                    </a:lnTo>
                    <a:lnTo>
                      <a:pt x="3319" y="792"/>
                    </a:lnTo>
                    <a:lnTo>
                      <a:pt x="3302" y="744"/>
                    </a:lnTo>
                    <a:lnTo>
                      <a:pt x="3279" y="696"/>
                    </a:lnTo>
                    <a:lnTo>
                      <a:pt x="3250" y="650"/>
                    </a:lnTo>
                    <a:lnTo>
                      <a:pt x="3214" y="604"/>
                    </a:lnTo>
                    <a:lnTo>
                      <a:pt x="3172" y="559"/>
                    </a:lnTo>
                    <a:lnTo>
                      <a:pt x="3125" y="515"/>
                    </a:lnTo>
                    <a:lnTo>
                      <a:pt x="3072" y="473"/>
                    </a:lnTo>
                    <a:lnTo>
                      <a:pt x="3013" y="432"/>
                    </a:lnTo>
                    <a:lnTo>
                      <a:pt x="2948" y="394"/>
                    </a:lnTo>
                    <a:lnTo>
                      <a:pt x="2877" y="356"/>
                    </a:lnTo>
                    <a:lnTo>
                      <a:pt x="2798" y="320"/>
                    </a:lnTo>
                    <a:lnTo>
                      <a:pt x="2716" y="285"/>
                    </a:lnTo>
                    <a:lnTo>
                      <a:pt x="2629" y="254"/>
                    </a:lnTo>
                    <a:lnTo>
                      <a:pt x="2539" y="227"/>
                    </a:lnTo>
                    <a:lnTo>
                      <a:pt x="2445" y="202"/>
                    </a:lnTo>
                    <a:lnTo>
                      <a:pt x="2349" y="180"/>
                    </a:lnTo>
                    <a:lnTo>
                      <a:pt x="2251" y="162"/>
                    </a:lnTo>
                    <a:lnTo>
                      <a:pt x="2149" y="146"/>
                    </a:lnTo>
                    <a:lnTo>
                      <a:pt x="2046" y="134"/>
                    </a:lnTo>
                    <a:lnTo>
                      <a:pt x="1941" y="125"/>
                    </a:lnTo>
                    <a:lnTo>
                      <a:pt x="1834" y="120"/>
                    </a:lnTo>
                    <a:lnTo>
                      <a:pt x="1726" y="119"/>
                    </a:lnTo>
                    <a:close/>
                    <a:moveTo>
                      <a:pt x="1725" y="0"/>
                    </a:moveTo>
                    <a:lnTo>
                      <a:pt x="1726" y="0"/>
                    </a:lnTo>
                    <a:lnTo>
                      <a:pt x="1838" y="2"/>
                    </a:lnTo>
                    <a:lnTo>
                      <a:pt x="1950" y="7"/>
                    </a:lnTo>
                    <a:lnTo>
                      <a:pt x="2060" y="17"/>
                    </a:lnTo>
                    <a:lnTo>
                      <a:pt x="2168" y="29"/>
                    </a:lnTo>
                    <a:lnTo>
                      <a:pt x="2274" y="45"/>
                    </a:lnTo>
                    <a:lnTo>
                      <a:pt x="2377" y="65"/>
                    </a:lnTo>
                    <a:lnTo>
                      <a:pt x="2478" y="88"/>
                    </a:lnTo>
                    <a:lnTo>
                      <a:pt x="2575" y="114"/>
                    </a:lnTo>
                    <a:lnTo>
                      <a:pt x="2669" y="143"/>
                    </a:lnTo>
                    <a:lnTo>
                      <a:pt x="2760" y="175"/>
                    </a:lnTo>
                    <a:lnTo>
                      <a:pt x="2846" y="211"/>
                    </a:lnTo>
                    <a:lnTo>
                      <a:pt x="2929" y="250"/>
                    </a:lnTo>
                    <a:lnTo>
                      <a:pt x="3005" y="289"/>
                    </a:lnTo>
                    <a:lnTo>
                      <a:pt x="3074" y="330"/>
                    </a:lnTo>
                    <a:lnTo>
                      <a:pt x="3138" y="374"/>
                    </a:lnTo>
                    <a:lnTo>
                      <a:pt x="3196" y="420"/>
                    </a:lnTo>
                    <a:lnTo>
                      <a:pt x="3249" y="467"/>
                    </a:lnTo>
                    <a:lnTo>
                      <a:pt x="3296" y="515"/>
                    </a:lnTo>
                    <a:lnTo>
                      <a:pt x="3336" y="565"/>
                    </a:lnTo>
                    <a:lnTo>
                      <a:pt x="3371" y="617"/>
                    </a:lnTo>
                    <a:lnTo>
                      <a:pt x="3399" y="670"/>
                    </a:lnTo>
                    <a:lnTo>
                      <a:pt x="3421" y="724"/>
                    </a:lnTo>
                    <a:lnTo>
                      <a:pt x="3438" y="778"/>
                    </a:lnTo>
                    <a:lnTo>
                      <a:pt x="3448" y="834"/>
                    </a:lnTo>
                    <a:lnTo>
                      <a:pt x="3451" y="890"/>
                    </a:lnTo>
                    <a:lnTo>
                      <a:pt x="3448" y="945"/>
                    </a:lnTo>
                    <a:lnTo>
                      <a:pt x="3438" y="1000"/>
                    </a:lnTo>
                    <a:lnTo>
                      <a:pt x="3422" y="1054"/>
                    </a:lnTo>
                    <a:lnTo>
                      <a:pt x="3400" y="1106"/>
                    </a:lnTo>
                    <a:lnTo>
                      <a:pt x="3373" y="1158"/>
                    </a:lnTo>
                    <a:lnTo>
                      <a:pt x="3340" y="1209"/>
                    </a:lnTo>
                    <a:lnTo>
                      <a:pt x="3301" y="1258"/>
                    </a:lnTo>
                    <a:lnTo>
                      <a:pt x="3256" y="1306"/>
                    </a:lnTo>
                    <a:lnTo>
                      <a:pt x="3301" y="1354"/>
                    </a:lnTo>
                    <a:lnTo>
                      <a:pt x="3340" y="1404"/>
                    </a:lnTo>
                    <a:lnTo>
                      <a:pt x="3373" y="1454"/>
                    </a:lnTo>
                    <a:lnTo>
                      <a:pt x="3402" y="1506"/>
                    </a:lnTo>
                    <a:lnTo>
                      <a:pt x="3422" y="1560"/>
                    </a:lnTo>
                    <a:lnTo>
                      <a:pt x="3438" y="1613"/>
                    </a:lnTo>
                    <a:lnTo>
                      <a:pt x="3449" y="1667"/>
                    </a:lnTo>
                    <a:lnTo>
                      <a:pt x="3452" y="1720"/>
                    </a:lnTo>
                    <a:lnTo>
                      <a:pt x="3449" y="1775"/>
                    </a:lnTo>
                    <a:lnTo>
                      <a:pt x="3440" y="1827"/>
                    </a:lnTo>
                    <a:lnTo>
                      <a:pt x="3426" y="1879"/>
                    </a:lnTo>
                    <a:lnTo>
                      <a:pt x="3405" y="1930"/>
                    </a:lnTo>
                    <a:lnTo>
                      <a:pt x="3379" y="1981"/>
                    </a:lnTo>
                    <a:lnTo>
                      <a:pt x="3347" y="2031"/>
                    </a:lnTo>
                    <a:lnTo>
                      <a:pt x="3310" y="2078"/>
                    </a:lnTo>
                    <a:lnTo>
                      <a:pt x="3313" y="2082"/>
                    </a:lnTo>
                    <a:lnTo>
                      <a:pt x="3317" y="2085"/>
                    </a:lnTo>
                    <a:lnTo>
                      <a:pt x="3358" y="2141"/>
                    </a:lnTo>
                    <a:lnTo>
                      <a:pt x="3391" y="2198"/>
                    </a:lnTo>
                    <a:lnTo>
                      <a:pt x="3417" y="2255"/>
                    </a:lnTo>
                    <a:lnTo>
                      <a:pt x="3436" y="2314"/>
                    </a:lnTo>
                    <a:lnTo>
                      <a:pt x="3447" y="2373"/>
                    </a:lnTo>
                    <a:lnTo>
                      <a:pt x="3451" y="2433"/>
                    </a:lnTo>
                    <a:lnTo>
                      <a:pt x="3448" y="2489"/>
                    </a:lnTo>
                    <a:lnTo>
                      <a:pt x="3438" y="2545"/>
                    </a:lnTo>
                    <a:lnTo>
                      <a:pt x="3421" y="2600"/>
                    </a:lnTo>
                    <a:lnTo>
                      <a:pt x="3399" y="2653"/>
                    </a:lnTo>
                    <a:lnTo>
                      <a:pt x="3370" y="2706"/>
                    </a:lnTo>
                    <a:lnTo>
                      <a:pt x="3336" y="2758"/>
                    </a:lnTo>
                    <a:lnTo>
                      <a:pt x="3295" y="2808"/>
                    </a:lnTo>
                    <a:lnTo>
                      <a:pt x="3249" y="2856"/>
                    </a:lnTo>
                    <a:lnTo>
                      <a:pt x="3195" y="2904"/>
                    </a:lnTo>
                    <a:lnTo>
                      <a:pt x="3138" y="2949"/>
                    </a:lnTo>
                    <a:lnTo>
                      <a:pt x="3074" y="2993"/>
                    </a:lnTo>
                    <a:lnTo>
                      <a:pt x="3005" y="3034"/>
                    </a:lnTo>
                    <a:lnTo>
                      <a:pt x="2929" y="3074"/>
                    </a:lnTo>
                    <a:lnTo>
                      <a:pt x="2846" y="3113"/>
                    </a:lnTo>
                    <a:lnTo>
                      <a:pt x="2760" y="3148"/>
                    </a:lnTo>
                    <a:lnTo>
                      <a:pt x="2669" y="3181"/>
                    </a:lnTo>
                    <a:lnTo>
                      <a:pt x="2575" y="3210"/>
                    </a:lnTo>
                    <a:lnTo>
                      <a:pt x="2478" y="3236"/>
                    </a:lnTo>
                    <a:lnTo>
                      <a:pt x="2377" y="3259"/>
                    </a:lnTo>
                    <a:lnTo>
                      <a:pt x="2274" y="3278"/>
                    </a:lnTo>
                    <a:lnTo>
                      <a:pt x="2168" y="3294"/>
                    </a:lnTo>
                    <a:lnTo>
                      <a:pt x="2060" y="3307"/>
                    </a:lnTo>
                    <a:lnTo>
                      <a:pt x="1950" y="3315"/>
                    </a:lnTo>
                    <a:lnTo>
                      <a:pt x="1838" y="3322"/>
                    </a:lnTo>
                    <a:lnTo>
                      <a:pt x="1726" y="3323"/>
                    </a:lnTo>
                    <a:lnTo>
                      <a:pt x="1613" y="3322"/>
                    </a:lnTo>
                    <a:lnTo>
                      <a:pt x="1501" y="3315"/>
                    </a:lnTo>
                    <a:lnTo>
                      <a:pt x="1392" y="3307"/>
                    </a:lnTo>
                    <a:lnTo>
                      <a:pt x="1283" y="3294"/>
                    </a:lnTo>
                    <a:lnTo>
                      <a:pt x="1177" y="3279"/>
                    </a:lnTo>
                    <a:lnTo>
                      <a:pt x="1075" y="3259"/>
                    </a:lnTo>
                    <a:lnTo>
                      <a:pt x="974" y="3236"/>
                    </a:lnTo>
                    <a:lnTo>
                      <a:pt x="876" y="3210"/>
                    </a:lnTo>
                    <a:lnTo>
                      <a:pt x="781" y="3181"/>
                    </a:lnTo>
                    <a:lnTo>
                      <a:pt x="691" y="3148"/>
                    </a:lnTo>
                    <a:lnTo>
                      <a:pt x="604" y="3113"/>
                    </a:lnTo>
                    <a:lnTo>
                      <a:pt x="522" y="3074"/>
                    </a:lnTo>
                    <a:lnTo>
                      <a:pt x="446" y="3034"/>
                    </a:lnTo>
                    <a:lnTo>
                      <a:pt x="377" y="2993"/>
                    </a:lnTo>
                    <a:lnTo>
                      <a:pt x="313" y="2949"/>
                    </a:lnTo>
                    <a:lnTo>
                      <a:pt x="254" y="2904"/>
                    </a:lnTo>
                    <a:lnTo>
                      <a:pt x="202" y="2856"/>
                    </a:lnTo>
                    <a:lnTo>
                      <a:pt x="155" y="2808"/>
                    </a:lnTo>
                    <a:lnTo>
                      <a:pt x="115" y="2758"/>
                    </a:lnTo>
                    <a:lnTo>
                      <a:pt x="80" y="2706"/>
                    </a:lnTo>
                    <a:lnTo>
                      <a:pt x="51" y="2653"/>
                    </a:lnTo>
                    <a:lnTo>
                      <a:pt x="29" y="2600"/>
                    </a:lnTo>
                    <a:lnTo>
                      <a:pt x="13" y="2545"/>
                    </a:lnTo>
                    <a:lnTo>
                      <a:pt x="3" y="2489"/>
                    </a:lnTo>
                    <a:lnTo>
                      <a:pt x="0" y="2433"/>
                    </a:lnTo>
                    <a:lnTo>
                      <a:pt x="3" y="2382"/>
                    </a:lnTo>
                    <a:lnTo>
                      <a:pt x="12" y="2330"/>
                    </a:lnTo>
                    <a:lnTo>
                      <a:pt x="25" y="2280"/>
                    </a:lnTo>
                    <a:lnTo>
                      <a:pt x="45" y="2230"/>
                    </a:lnTo>
                    <a:lnTo>
                      <a:pt x="70" y="2181"/>
                    </a:lnTo>
                    <a:lnTo>
                      <a:pt x="101" y="2133"/>
                    </a:lnTo>
                    <a:lnTo>
                      <a:pt x="136" y="2085"/>
                    </a:lnTo>
                    <a:lnTo>
                      <a:pt x="137" y="2083"/>
                    </a:lnTo>
                    <a:lnTo>
                      <a:pt x="139" y="2082"/>
                    </a:lnTo>
                    <a:lnTo>
                      <a:pt x="141" y="2080"/>
                    </a:lnTo>
                    <a:lnTo>
                      <a:pt x="105" y="2031"/>
                    </a:lnTo>
                    <a:lnTo>
                      <a:pt x="73" y="1981"/>
                    </a:lnTo>
                    <a:lnTo>
                      <a:pt x="47" y="1931"/>
                    </a:lnTo>
                    <a:lnTo>
                      <a:pt x="26" y="1879"/>
                    </a:lnTo>
                    <a:lnTo>
                      <a:pt x="12" y="1827"/>
                    </a:lnTo>
                    <a:lnTo>
                      <a:pt x="3" y="1775"/>
                    </a:lnTo>
                    <a:lnTo>
                      <a:pt x="0" y="1720"/>
                    </a:lnTo>
                    <a:lnTo>
                      <a:pt x="3" y="1667"/>
                    </a:lnTo>
                    <a:lnTo>
                      <a:pt x="14" y="1613"/>
                    </a:lnTo>
                    <a:lnTo>
                      <a:pt x="29" y="1560"/>
                    </a:lnTo>
                    <a:lnTo>
                      <a:pt x="51" y="1506"/>
                    </a:lnTo>
                    <a:lnTo>
                      <a:pt x="79" y="1455"/>
                    </a:lnTo>
                    <a:lnTo>
                      <a:pt x="112" y="1404"/>
                    </a:lnTo>
                    <a:lnTo>
                      <a:pt x="152" y="1355"/>
                    </a:lnTo>
                    <a:lnTo>
                      <a:pt x="196" y="1307"/>
                    </a:lnTo>
                    <a:lnTo>
                      <a:pt x="151" y="1259"/>
                    </a:lnTo>
                    <a:lnTo>
                      <a:pt x="111" y="1210"/>
                    </a:lnTo>
                    <a:lnTo>
                      <a:pt x="77" y="1158"/>
                    </a:lnTo>
                    <a:lnTo>
                      <a:pt x="50" y="1107"/>
                    </a:lnTo>
                    <a:lnTo>
                      <a:pt x="28" y="1054"/>
                    </a:lnTo>
                    <a:lnTo>
                      <a:pt x="13" y="1000"/>
                    </a:lnTo>
                    <a:lnTo>
                      <a:pt x="3" y="945"/>
                    </a:lnTo>
                    <a:lnTo>
                      <a:pt x="0" y="890"/>
                    </a:lnTo>
                    <a:lnTo>
                      <a:pt x="3" y="834"/>
                    </a:lnTo>
                    <a:lnTo>
                      <a:pt x="13" y="778"/>
                    </a:lnTo>
                    <a:lnTo>
                      <a:pt x="29" y="724"/>
                    </a:lnTo>
                    <a:lnTo>
                      <a:pt x="51" y="670"/>
                    </a:lnTo>
                    <a:lnTo>
                      <a:pt x="80" y="617"/>
                    </a:lnTo>
                    <a:lnTo>
                      <a:pt x="115" y="565"/>
                    </a:lnTo>
                    <a:lnTo>
                      <a:pt x="155" y="515"/>
                    </a:lnTo>
                    <a:lnTo>
                      <a:pt x="202" y="467"/>
                    </a:lnTo>
                    <a:lnTo>
                      <a:pt x="254" y="420"/>
                    </a:lnTo>
                    <a:lnTo>
                      <a:pt x="313" y="374"/>
                    </a:lnTo>
                    <a:lnTo>
                      <a:pt x="377" y="330"/>
                    </a:lnTo>
                    <a:lnTo>
                      <a:pt x="446" y="289"/>
                    </a:lnTo>
                    <a:lnTo>
                      <a:pt x="522" y="250"/>
                    </a:lnTo>
                    <a:lnTo>
                      <a:pt x="604" y="211"/>
                    </a:lnTo>
                    <a:lnTo>
                      <a:pt x="691" y="175"/>
                    </a:lnTo>
                    <a:lnTo>
                      <a:pt x="781" y="143"/>
                    </a:lnTo>
                    <a:lnTo>
                      <a:pt x="876" y="114"/>
                    </a:lnTo>
                    <a:lnTo>
                      <a:pt x="973" y="88"/>
                    </a:lnTo>
                    <a:lnTo>
                      <a:pt x="1073" y="65"/>
                    </a:lnTo>
                    <a:lnTo>
                      <a:pt x="1177" y="45"/>
                    </a:lnTo>
                    <a:lnTo>
                      <a:pt x="1283" y="29"/>
                    </a:lnTo>
                    <a:lnTo>
                      <a:pt x="1391" y="17"/>
                    </a:lnTo>
                    <a:lnTo>
                      <a:pt x="1501" y="7"/>
                    </a:lnTo>
                    <a:lnTo>
                      <a:pt x="1613" y="2"/>
                    </a:lnTo>
                    <a:lnTo>
                      <a:pt x="1725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0" name="Google Shape;550;p31"/>
              <p:cNvSpPr/>
              <p:nvPr/>
            </p:nvSpPr>
            <p:spPr>
              <a:xfrm>
                <a:off x="686" y="6961"/>
                <a:ext cx="111" cy="64"/>
              </a:xfrm>
              <a:custGeom>
                <a:avLst/>
                <a:gdLst/>
                <a:ahLst/>
                <a:cxnLst/>
                <a:rect l="l" t="t" r="r" b="b"/>
                <a:pathLst>
                  <a:path w="1009" h="586" extrusionOk="0">
                    <a:moveTo>
                      <a:pt x="33" y="0"/>
                    </a:moveTo>
                    <a:lnTo>
                      <a:pt x="44" y="3"/>
                    </a:lnTo>
                    <a:lnTo>
                      <a:pt x="53" y="10"/>
                    </a:lnTo>
                    <a:lnTo>
                      <a:pt x="58" y="21"/>
                    </a:lnTo>
                    <a:lnTo>
                      <a:pt x="72" y="56"/>
                    </a:lnTo>
                    <a:lnTo>
                      <a:pt x="92" y="93"/>
                    </a:lnTo>
                    <a:lnTo>
                      <a:pt x="118" y="129"/>
                    </a:lnTo>
                    <a:lnTo>
                      <a:pt x="150" y="165"/>
                    </a:lnTo>
                    <a:lnTo>
                      <a:pt x="184" y="200"/>
                    </a:lnTo>
                    <a:lnTo>
                      <a:pt x="223" y="234"/>
                    </a:lnTo>
                    <a:lnTo>
                      <a:pt x="263" y="267"/>
                    </a:lnTo>
                    <a:lnTo>
                      <a:pt x="306" y="299"/>
                    </a:lnTo>
                    <a:lnTo>
                      <a:pt x="348" y="328"/>
                    </a:lnTo>
                    <a:lnTo>
                      <a:pt x="391" y="355"/>
                    </a:lnTo>
                    <a:lnTo>
                      <a:pt x="432" y="379"/>
                    </a:lnTo>
                    <a:lnTo>
                      <a:pt x="490" y="411"/>
                    </a:lnTo>
                    <a:lnTo>
                      <a:pt x="551" y="436"/>
                    </a:lnTo>
                    <a:lnTo>
                      <a:pt x="613" y="458"/>
                    </a:lnTo>
                    <a:lnTo>
                      <a:pt x="674" y="476"/>
                    </a:lnTo>
                    <a:lnTo>
                      <a:pt x="733" y="491"/>
                    </a:lnTo>
                    <a:lnTo>
                      <a:pt x="791" y="502"/>
                    </a:lnTo>
                    <a:lnTo>
                      <a:pt x="845" y="512"/>
                    </a:lnTo>
                    <a:lnTo>
                      <a:pt x="896" y="519"/>
                    </a:lnTo>
                    <a:lnTo>
                      <a:pt x="942" y="523"/>
                    </a:lnTo>
                    <a:lnTo>
                      <a:pt x="981" y="526"/>
                    </a:lnTo>
                    <a:lnTo>
                      <a:pt x="993" y="530"/>
                    </a:lnTo>
                    <a:lnTo>
                      <a:pt x="1001" y="537"/>
                    </a:lnTo>
                    <a:lnTo>
                      <a:pt x="1008" y="547"/>
                    </a:lnTo>
                    <a:lnTo>
                      <a:pt x="1009" y="559"/>
                    </a:lnTo>
                    <a:lnTo>
                      <a:pt x="1006" y="569"/>
                    </a:lnTo>
                    <a:lnTo>
                      <a:pt x="999" y="579"/>
                    </a:lnTo>
                    <a:lnTo>
                      <a:pt x="990" y="584"/>
                    </a:lnTo>
                    <a:lnTo>
                      <a:pt x="979" y="586"/>
                    </a:lnTo>
                    <a:lnTo>
                      <a:pt x="977" y="586"/>
                    </a:lnTo>
                    <a:lnTo>
                      <a:pt x="940" y="583"/>
                    </a:lnTo>
                    <a:lnTo>
                      <a:pt x="897" y="579"/>
                    </a:lnTo>
                    <a:lnTo>
                      <a:pt x="849" y="572"/>
                    </a:lnTo>
                    <a:lnTo>
                      <a:pt x="799" y="565"/>
                    </a:lnTo>
                    <a:lnTo>
                      <a:pt x="746" y="555"/>
                    </a:lnTo>
                    <a:lnTo>
                      <a:pt x="690" y="542"/>
                    </a:lnTo>
                    <a:lnTo>
                      <a:pt x="633" y="526"/>
                    </a:lnTo>
                    <a:lnTo>
                      <a:pt x="574" y="508"/>
                    </a:lnTo>
                    <a:lnTo>
                      <a:pt x="516" y="486"/>
                    </a:lnTo>
                    <a:lnTo>
                      <a:pt x="459" y="460"/>
                    </a:lnTo>
                    <a:lnTo>
                      <a:pt x="402" y="430"/>
                    </a:lnTo>
                    <a:lnTo>
                      <a:pt x="356" y="403"/>
                    </a:lnTo>
                    <a:lnTo>
                      <a:pt x="310" y="374"/>
                    </a:lnTo>
                    <a:lnTo>
                      <a:pt x="264" y="342"/>
                    </a:lnTo>
                    <a:lnTo>
                      <a:pt x="219" y="308"/>
                    </a:lnTo>
                    <a:lnTo>
                      <a:pt x="176" y="273"/>
                    </a:lnTo>
                    <a:lnTo>
                      <a:pt x="136" y="235"/>
                    </a:lnTo>
                    <a:lnTo>
                      <a:pt x="99" y="196"/>
                    </a:lnTo>
                    <a:lnTo>
                      <a:pt x="66" y="158"/>
                    </a:lnTo>
                    <a:lnTo>
                      <a:pt x="38" y="118"/>
                    </a:lnTo>
                    <a:lnTo>
                      <a:pt x="16" y="77"/>
                    </a:lnTo>
                    <a:lnTo>
                      <a:pt x="1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1" y="6"/>
                    </a:lnTo>
                    <a:lnTo>
                      <a:pt x="21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</p:spPr>
            <p:txBody>
              <a:bodyPr spcFirstLastPara="1" wrap="square" lIns="182850" tIns="91400" rIns="182850" bIns="91400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sz="9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01" name="Google Shape;556;p31"/>
            <p:cNvSpPr/>
            <p:nvPr/>
          </p:nvSpPr>
          <p:spPr>
            <a:xfrm flipH="1">
              <a:off x="8899858" y="4438617"/>
              <a:ext cx="631044" cy="635998"/>
            </a:xfrm>
            <a:custGeom>
              <a:avLst/>
              <a:gdLst/>
              <a:ahLst/>
              <a:cxnLst/>
              <a:rect l="l" t="t" r="r" b="b"/>
              <a:pathLst>
                <a:path w="3236120" h="3533324" extrusionOk="0">
                  <a:moveTo>
                    <a:pt x="2181225" y="2731995"/>
                  </a:moveTo>
                  <a:lnTo>
                    <a:pt x="2181225" y="2815339"/>
                  </a:lnTo>
                  <a:lnTo>
                    <a:pt x="2693194" y="2815339"/>
                  </a:lnTo>
                  <a:lnTo>
                    <a:pt x="2693194" y="2731995"/>
                  </a:lnTo>
                  <a:close/>
                  <a:moveTo>
                    <a:pt x="1502568" y="2041429"/>
                  </a:moveTo>
                  <a:lnTo>
                    <a:pt x="1618059" y="2267648"/>
                  </a:lnTo>
                  <a:lnTo>
                    <a:pt x="1733550" y="2041429"/>
                  </a:lnTo>
                  <a:close/>
                  <a:moveTo>
                    <a:pt x="1951090" y="10"/>
                  </a:moveTo>
                  <a:cubicBezTo>
                    <a:pt x="1820914" y="114311"/>
                    <a:pt x="1889715" y="118433"/>
                    <a:pt x="1924050" y="160246"/>
                  </a:cubicBezTo>
                  <a:cubicBezTo>
                    <a:pt x="1980662" y="218305"/>
                    <a:pt x="2175719" y="316591"/>
                    <a:pt x="2200274" y="503146"/>
                  </a:cubicBezTo>
                  <a:cubicBezTo>
                    <a:pt x="2208608" y="688090"/>
                    <a:pt x="2197943" y="780934"/>
                    <a:pt x="2209799" y="884146"/>
                  </a:cubicBezTo>
                  <a:cubicBezTo>
                    <a:pt x="2224484" y="900417"/>
                    <a:pt x="2213820" y="896820"/>
                    <a:pt x="2245519" y="910339"/>
                  </a:cubicBezTo>
                  <a:cubicBezTo>
                    <a:pt x="2243931" y="967091"/>
                    <a:pt x="2234060" y="1091686"/>
                    <a:pt x="2228850" y="1150846"/>
                  </a:cubicBezTo>
                  <a:cubicBezTo>
                    <a:pt x="2176066" y="1246889"/>
                    <a:pt x="2147939" y="1336251"/>
                    <a:pt x="2097881" y="1477077"/>
                  </a:cubicBezTo>
                  <a:cubicBezTo>
                    <a:pt x="2062956" y="1538989"/>
                    <a:pt x="2054673" y="1538259"/>
                    <a:pt x="2043112" y="1624714"/>
                  </a:cubicBezTo>
                  <a:cubicBezTo>
                    <a:pt x="2044303" y="1682261"/>
                    <a:pt x="2038401" y="1722410"/>
                    <a:pt x="2045494" y="1839027"/>
                  </a:cubicBezTo>
                  <a:cubicBezTo>
                    <a:pt x="2073275" y="1856092"/>
                    <a:pt x="2081660" y="1855759"/>
                    <a:pt x="2095500" y="1872364"/>
                  </a:cubicBezTo>
                  <a:cubicBezTo>
                    <a:pt x="2118122" y="1944992"/>
                    <a:pt x="2128094" y="2018479"/>
                    <a:pt x="2176462" y="2091439"/>
                  </a:cubicBezTo>
                  <a:cubicBezTo>
                    <a:pt x="2278459" y="2156526"/>
                    <a:pt x="3078880" y="2415482"/>
                    <a:pt x="3121819" y="2562927"/>
                  </a:cubicBezTo>
                  <a:cubicBezTo>
                    <a:pt x="3175795" y="2735170"/>
                    <a:pt x="3186830" y="2889350"/>
                    <a:pt x="3236120" y="3062989"/>
                  </a:cubicBezTo>
                  <a:cubicBezTo>
                    <a:pt x="2913934" y="3069941"/>
                    <a:pt x="1967694" y="3508514"/>
                    <a:pt x="1745917" y="3533324"/>
                  </a:cubicBezTo>
                  <a:lnTo>
                    <a:pt x="1742541" y="3533292"/>
                  </a:lnTo>
                  <a:lnTo>
                    <a:pt x="1966066" y="3217771"/>
                  </a:lnTo>
                  <a:lnTo>
                    <a:pt x="1966912" y="3217771"/>
                  </a:lnTo>
                  <a:lnTo>
                    <a:pt x="1966623" y="3216985"/>
                  </a:lnTo>
                  <a:lnTo>
                    <a:pt x="1966911" y="3216578"/>
                  </a:lnTo>
                  <a:lnTo>
                    <a:pt x="1966473" y="3216578"/>
                  </a:lnTo>
                  <a:lnTo>
                    <a:pt x="1616869" y="2267649"/>
                  </a:lnTo>
                  <a:lnTo>
                    <a:pt x="1267265" y="3216578"/>
                  </a:lnTo>
                  <a:lnTo>
                    <a:pt x="1266823" y="3216578"/>
                  </a:lnTo>
                  <a:lnTo>
                    <a:pt x="1267114" y="3216988"/>
                  </a:lnTo>
                  <a:lnTo>
                    <a:pt x="1266825" y="3217771"/>
                  </a:lnTo>
                  <a:lnTo>
                    <a:pt x="1267668" y="3217771"/>
                  </a:lnTo>
                  <a:lnTo>
                    <a:pt x="1489627" y="3531080"/>
                  </a:lnTo>
                  <a:lnTo>
                    <a:pt x="1426385" y="3532099"/>
                  </a:lnTo>
                  <a:cubicBezTo>
                    <a:pt x="1052282" y="3507627"/>
                    <a:pt x="465340" y="3049326"/>
                    <a:pt x="0" y="3060608"/>
                  </a:cubicBezTo>
                  <a:cubicBezTo>
                    <a:pt x="70374" y="2810706"/>
                    <a:pt x="78223" y="2727243"/>
                    <a:pt x="113148" y="2548253"/>
                  </a:cubicBezTo>
                  <a:cubicBezTo>
                    <a:pt x="323018" y="2390887"/>
                    <a:pt x="918176" y="2151700"/>
                    <a:pt x="1054893" y="2084296"/>
                  </a:cubicBezTo>
                  <a:cubicBezTo>
                    <a:pt x="1076914" y="2024433"/>
                    <a:pt x="1099344" y="1918799"/>
                    <a:pt x="1121569" y="1877127"/>
                  </a:cubicBezTo>
                  <a:cubicBezTo>
                    <a:pt x="1146175" y="1849743"/>
                    <a:pt x="1152128" y="1866411"/>
                    <a:pt x="1188243" y="1834264"/>
                  </a:cubicBezTo>
                  <a:cubicBezTo>
                    <a:pt x="1208279" y="1716060"/>
                    <a:pt x="1212644" y="1648898"/>
                    <a:pt x="1216818" y="1586614"/>
                  </a:cubicBezTo>
                  <a:cubicBezTo>
                    <a:pt x="1167222" y="1536658"/>
                    <a:pt x="1155725" y="1491466"/>
                    <a:pt x="1125179" y="1443892"/>
                  </a:cubicBezTo>
                  <a:cubicBezTo>
                    <a:pt x="1062267" y="1234803"/>
                    <a:pt x="983263" y="997280"/>
                    <a:pt x="990599" y="910339"/>
                  </a:cubicBezTo>
                  <a:cubicBezTo>
                    <a:pt x="1021747" y="880548"/>
                    <a:pt x="998934" y="904781"/>
                    <a:pt x="1054894" y="857950"/>
                  </a:cubicBezTo>
                  <a:cubicBezTo>
                    <a:pt x="1057071" y="771010"/>
                    <a:pt x="1046418" y="761230"/>
                    <a:pt x="1054894" y="517433"/>
                  </a:cubicBezTo>
                  <a:cubicBezTo>
                    <a:pt x="1070514" y="118855"/>
                    <a:pt x="1714604" y="-1206"/>
                    <a:pt x="1951090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37100" tIns="68550" rIns="137100" bIns="685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sz="7400">
                <a:solidFill>
                  <a:srgbClr val="595959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grpSp>
          <p:nvGrpSpPr>
            <p:cNvPr id="202" name="Google Shape;368;p28"/>
            <p:cNvGrpSpPr/>
            <p:nvPr/>
          </p:nvGrpSpPr>
          <p:grpSpPr>
            <a:xfrm>
              <a:off x="2639524" y="4504616"/>
              <a:ext cx="504000" cy="504000"/>
              <a:chOff x="791890" y="1347614"/>
              <a:chExt cx="252000" cy="252000"/>
            </a:xfrm>
          </p:grpSpPr>
          <p:sp>
            <p:nvSpPr>
              <p:cNvPr id="206" name="Google Shape;369;p28"/>
              <p:cNvSpPr/>
              <p:nvPr/>
            </p:nvSpPr>
            <p:spPr>
              <a:xfrm>
                <a:off x="836885" y="1392614"/>
                <a:ext cx="162000" cy="162000"/>
              </a:xfrm>
              <a:prstGeom prst="ellipse">
                <a:avLst/>
              </a:prstGeom>
              <a:solidFill>
                <a:srgbClr val="595959"/>
              </a:solidFill>
              <a:ln w="9525" cap="flat" cmpd="sng">
                <a:solidFill>
                  <a:srgbClr val="93C47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07" name="Google Shape;370;p28"/>
              <p:cNvSpPr/>
              <p:nvPr/>
            </p:nvSpPr>
            <p:spPr>
              <a:xfrm>
                <a:off x="791890" y="1347614"/>
                <a:ext cx="252000" cy="252000"/>
              </a:xfrm>
              <a:prstGeom prst="ellipse">
                <a:avLst/>
              </a:prstGeom>
              <a:noFill/>
              <a:ln w="28575" cap="flat" cmpd="sng">
                <a:solidFill>
                  <a:srgbClr val="93C47D">
                    <a:alpha val="498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7F7F7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sp>
          <p:nvSpPr>
            <p:cNvPr id="203" name="Google Shape;371;p28"/>
            <p:cNvSpPr txBox="1"/>
            <p:nvPr/>
          </p:nvSpPr>
          <p:spPr>
            <a:xfrm>
              <a:off x="1084366" y="4433516"/>
              <a:ext cx="1465800" cy="646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3000" b="1">
                  <a:solidFill>
                    <a:srgbClr val="CC0000"/>
                  </a:solidFill>
                  <a:latin typeface="Oswald"/>
                  <a:sym typeface="Oswald"/>
                </a:rPr>
                <a:t>9</a:t>
              </a:r>
              <a:endParaRPr sz="1000">
                <a:solidFill>
                  <a:srgbClr val="CC0000"/>
                </a:solidFill>
              </a:endParaRPr>
            </a:p>
          </p:txBody>
        </p:sp>
        <p:sp>
          <p:nvSpPr>
            <p:cNvPr id="204" name="Google Shape;385;p28"/>
            <p:cNvSpPr/>
            <p:nvPr/>
          </p:nvSpPr>
          <p:spPr>
            <a:xfrm>
              <a:off x="3396456" y="4142889"/>
              <a:ext cx="5282116" cy="12274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1250" tIns="90650" rIns="181250" bIns="9065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600">
                  <a:solidFill>
                    <a:srgbClr val="666666"/>
                  </a:solidFill>
                  <a:latin typeface="Roboto" panose="020B0604020202020204" charset="0"/>
                  <a:ea typeface="Roboto" panose="020B0604020202020204" charset="0"/>
                  <a:cs typeface="Roboto"/>
                  <a:sym typeface="Roboto"/>
                </a:rPr>
                <a:t>Báo cáo kết quả thực hiện </a:t>
              </a:r>
              <a:endParaRPr lang="en-US" sz="2600" b="1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Times New Roman"/>
                <a:sym typeface="Times New Roman"/>
              </a:endParaRPr>
            </a:p>
          </p:txBody>
        </p:sp>
        <p:sp>
          <p:nvSpPr>
            <p:cNvPr id="205" name="Google Shape;603;p32"/>
            <p:cNvSpPr/>
            <p:nvPr/>
          </p:nvSpPr>
          <p:spPr>
            <a:xfrm>
              <a:off x="14985891" y="4595516"/>
              <a:ext cx="2936350" cy="32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625" tIns="45325" rIns="90625" bIns="45325" anchor="ctr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>
                  <a:solidFill>
                    <a:srgbClr val="666666"/>
                  </a:solidFill>
                  <a:latin typeface="Roboto"/>
                  <a:ea typeface="Roboto"/>
                  <a:cs typeface="Roboto"/>
                  <a:sym typeface="Roboto"/>
                </a:rPr>
                <a:t>118,56</a:t>
              </a:r>
              <a:endParaRPr lang="en-US" b="1" dirty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581494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uồn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h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í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Google Shape;496;p31"/>
          <p:cNvSpPr/>
          <p:nvPr/>
        </p:nvSpPr>
        <p:spPr>
          <a:xfrm>
            <a:off x="14651004" y="6240350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" name="Google Shape;497;p31"/>
          <p:cNvSpPr/>
          <p:nvPr/>
        </p:nvSpPr>
        <p:spPr>
          <a:xfrm>
            <a:off x="14651004" y="7350194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" name="Google Shape;529;p31"/>
          <p:cNvSpPr/>
          <p:nvPr/>
        </p:nvSpPr>
        <p:spPr>
          <a:xfrm>
            <a:off x="14691006" y="40206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" name="Google Shape;530;p31"/>
          <p:cNvSpPr/>
          <p:nvPr/>
        </p:nvSpPr>
        <p:spPr>
          <a:xfrm>
            <a:off x="14691006" y="513050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" name="Google Shape;531;p31"/>
          <p:cNvSpPr/>
          <p:nvPr/>
        </p:nvSpPr>
        <p:spPr>
          <a:xfrm>
            <a:off x="14665306" y="28955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3" name="Google Shape;568;p32"/>
          <p:cNvSpPr/>
          <p:nvPr/>
        </p:nvSpPr>
        <p:spPr>
          <a:xfrm>
            <a:off x="14651004" y="6240350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 b="1" dirty="0">
              <a:solidFill>
                <a:srgbClr val="666666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74" name="Google Shape;569;p32"/>
          <p:cNvSpPr/>
          <p:nvPr/>
        </p:nvSpPr>
        <p:spPr>
          <a:xfrm>
            <a:off x="14651004" y="7350194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 b="1" dirty="0">
              <a:solidFill>
                <a:srgbClr val="666666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80" name="Google Shape;601;p32"/>
          <p:cNvSpPr/>
          <p:nvPr/>
        </p:nvSpPr>
        <p:spPr>
          <a:xfrm>
            <a:off x="14691006" y="40206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1" name="Google Shape;602;p32"/>
          <p:cNvSpPr/>
          <p:nvPr/>
        </p:nvSpPr>
        <p:spPr>
          <a:xfrm>
            <a:off x="14691006" y="513050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72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2" name="Google Shape;603;p32"/>
          <p:cNvSpPr/>
          <p:nvPr/>
        </p:nvSpPr>
        <p:spPr>
          <a:xfrm>
            <a:off x="14665306" y="2895536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 b="1" dirty="0">
              <a:solidFill>
                <a:srgbClr val="666666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sp>
        <p:nvSpPr>
          <p:cNvPr id="142" name="Google Shape;569;p32"/>
          <p:cNvSpPr/>
          <p:nvPr/>
        </p:nvSpPr>
        <p:spPr>
          <a:xfrm>
            <a:off x="14651008" y="7312394"/>
            <a:ext cx="3456600" cy="6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1250" tIns="90650" rIns="181250" bIns="9065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3200" b="1" dirty="0">
              <a:solidFill>
                <a:srgbClr val="666666"/>
              </a:solidFill>
              <a:latin typeface="Roboto" panose="020B0604020202020204" charset="0"/>
              <a:ea typeface="Roboto" panose="020B0604020202020204" charset="0"/>
              <a:cs typeface="Roboto"/>
              <a:sym typeface="Roboto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852210" y="1253830"/>
          <a:ext cx="16583588" cy="8080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9220">
                  <a:extLst>
                    <a:ext uri="{9D8B030D-6E8A-4147-A177-3AD203B41FA5}">
                      <a16:colId xmlns:a16="http://schemas.microsoft.com/office/drawing/2014/main" val="1269769947"/>
                    </a:ext>
                  </a:extLst>
                </a:gridCol>
                <a:gridCol w="2264368">
                  <a:extLst>
                    <a:ext uri="{9D8B030D-6E8A-4147-A177-3AD203B41FA5}">
                      <a16:colId xmlns:a16="http://schemas.microsoft.com/office/drawing/2014/main" val="2151818811"/>
                    </a:ext>
                  </a:extLst>
                </a:gridCol>
              </a:tblGrid>
              <a:tr h="711385">
                <a:tc>
                  <a:txBody>
                    <a:bodyPr/>
                    <a:lstStyle/>
                    <a:p>
                      <a:pPr algn="ctr"/>
                      <a:r>
                        <a:rPr lang="en-US" sz="3000" dirty="0" err="1">
                          <a:latin typeface="Roboto"/>
                        </a:rPr>
                        <a:t>Chuyên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đề</a:t>
                      </a:r>
                      <a:endParaRPr lang="en-US" sz="26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bg1"/>
                          </a:solidFill>
                          <a:latin typeface="Roboto"/>
                        </a:rPr>
                        <a:t>637.79</a:t>
                      </a:r>
                      <a:endParaRPr lang="en-US" sz="26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062114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 b="0" i="0" kern="1200" dirty="0" err="1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Xây</a:t>
                      </a:r>
                      <a:r>
                        <a:rPr lang="en-US" sz="2600" b="0" i="0" kern="1200" dirty="0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600" b="0" i="0" kern="1200" dirty="0" err="1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dựng</a:t>
                      </a:r>
                      <a:r>
                        <a:rPr lang="en-US" sz="2600" b="0" i="0" kern="1200" dirty="0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600" b="0" i="0" kern="1200" dirty="0" err="1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thuyết</a:t>
                      </a:r>
                      <a:r>
                        <a:rPr lang="en-US" sz="2600" b="0" i="0" kern="1200" dirty="0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 minh </a:t>
                      </a:r>
                      <a:r>
                        <a:rPr lang="en-US" sz="2600" b="0" i="0" kern="1200" dirty="0" err="1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nhiệm</a:t>
                      </a:r>
                      <a:r>
                        <a:rPr lang="en-US" sz="2600" b="0" i="0" kern="1200" dirty="0">
                          <a:solidFill>
                            <a:schemeClr val="dk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 vụ KH&amp;CN</a:t>
                      </a:r>
                      <a:endParaRPr lang="en-US" sz="2600" b="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36.55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7829096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>
                          <a:latin typeface="Roboto"/>
                        </a:rPr>
                        <a:t>Khảo sát dịch vụ MyTV và các nguồn dữ liệu video hiện c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26.67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4481331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vi-VN" sz="2600">
                          <a:latin typeface="Roboto"/>
                        </a:rPr>
                        <a:t>Nghiên cứu xu hướng công nghệ, tầm quan trọng và lợi ích trích xuất siêu dữ liệu từ video</a:t>
                      </a:r>
                      <a:endParaRPr lang="vi-VN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38.35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346293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>
                          <a:latin typeface="Roboto"/>
                        </a:rPr>
                        <a:t>Nghiên cứu ứng dụng, thuật toán Machine Learning và Trí tuệ nhân tạo (Artificial Intelligence) trong việc trích xuất siêu dữ liệu từ video</a:t>
                      </a:r>
                      <a:endParaRPr lang="en-US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151.28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1584674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vi-VN" sz="2600">
                          <a:latin typeface="Roboto"/>
                        </a:rPr>
                        <a:t>Nghiên cứu lựa chọn công nghệ tối ưu cho mô hình trích xuất siêu dữ liệu từ video</a:t>
                      </a:r>
                      <a:endParaRPr lang="vi-VN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19.75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9843645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>
                          <a:latin typeface="Roboto"/>
                        </a:rPr>
                        <a:t>Thiết kế hệ thống nhận dạng và trích xuất siêu dữ liệu</a:t>
                      </a:r>
                      <a:endParaRPr lang="en-US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37.04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9604247"/>
                  </a:ext>
                </a:extLst>
              </a:tr>
              <a:tr h="856887">
                <a:tc>
                  <a:txBody>
                    <a:bodyPr/>
                    <a:lstStyle/>
                    <a:p>
                      <a:r>
                        <a:rPr lang="en-US" sz="2600">
                          <a:latin typeface="Roboto"/>
                        </a:rPr>
                        <a:t>Thử nghiệm hệ thống</a:t>
                      </a:r>
                      <a:endParaRPr lang="en-US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23.74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514260"/>
                  </a:ext>
                </a:extLst>
              </a:tr>
              <a:tr h="648329">
                <a:tc>
                  <a:txBody>
                    <a:bodyPr/>
                    <a:lstStyle/>
                    <a:p>
                      <a:r>
                        <a:rPr lang="en-US" sz="2600">
                          <a:latin typeface="Roboto"/>
                        </a:rPr>
                        <a:t>Xây dựng tài liệu sản phẩm cho hệ thống</a:t>
                      </a:r>
                      <a:endParaRPr lang="en-US" sz="2600" dirty="0" err="1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24.70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634792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 dirty="0" err="1">
                          <a:latin typeface="Roboto"/>
                        </a:rPr>
                        <a:t>Báo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cáo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kết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quả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thực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hiện</a:t>
                      </a:r>
                      <a:endParaRPr lang="en-US" sz="26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>
                          <a:solidFill>
                            <a:schemeClr val="tx1"/>
                          </a:solidFill>
                          <a:latin typeface="Roboto"/>
                        </a:rPr>
                        <a:t>118.56</a:t>
                      </a:r>
                      <a:endParaRPr lang="en-US" sz="2600" b="1" dirty="0">
                        <a:solidFill>
                          <a:schemeClr val="tx1"/>
                        </a:solidFill>
                        <a:latin typeface="Robo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6863832"/>
                  </a:ext>
                </a:extLst>
              </a:tr>
              <a:tr h="711385">
                <a:tc>
                  <a:txBody>
                    <a:bodyPr/>
                    <a:lstStyle/>
                    <a:p>
                      <a:r>
                        <a:rPr lang="en-US" sz="2600" dirty="0">
                          <a:latin typeface="Roboto"/>
                        </a:rPr>
                        <a:t>Chi </a:t>
                      </a:r>
                      <a:r>
                        <a:rPr lang="en-US" sz="2600" dirty="0" err="1">
                          <a:latin typeface="Roboto"/>
                        </a:rPr>
                        <a:t>phí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khác</a:t>
                      </a:r>
                      <a:r>
                        <a:rPr lang="en-US" sz="2600" baseline="0" dirty="0">
                          <a:latin typeface="Roboto"/>
                        </a:rPr>
                        <a:t> ( </a:t>
                      </a:r>
                      <a:r>
                        <a:rPr lang="en-US" sz="2600" baseline="0" dirty="0" err="1">
                          <a:latin typeface="Roboto"/>
                        </a:rPr>
                        <a:t>hội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thảo</a:t>
                      </a:r>
                      <a:r>
                        <a:rPr lang="en-US" sz="2600" baseline="0" dirty="0">
                          <a:latin typeface="Roboto"/>
                        </a:rPr>
                        <a:t>, </a:t>
                      </a:r>
                      <a:r>
                        <a:rPr lang="en-US" sz="2600" baseline="0" dirty="0" err="1">
                          <a:latin typeface="Roboto"/>
                        </a:rPr>
                        <a:t>nghiệm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thu</a:t>
                      </a:r>
                      <a:r>
                        <a:rPr lang="en-US" sz="2600" baseline="0" dirty="0">
                          <a:latin typeface="Roboto"/>
                        </a:rPr>
                        <a:t>, in </a:t>
                      </a:r>
                      <a:r>
                        <a:rPr lang="en-US" sz="2600" baseline="0" dirty="0" err="1">
                          <a:latin typeface="Roboto"/>
                        </a:rPr>
                        <a:t>ấn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tài</a:t>
                      </a:r>
                      <a:r>
                        <a:rPr lang="en-US" sz="2600" baseline="0" dirty="0">
                          <a:latin typeface="Roboto"/>
                        </a:rPr>
                        <a:t> </a:t>
                      </a:r>
                      <a:r>
                        <a:rPr lang="en-US" sz="2600" baseline="0" dirty="0" err="1">
                          <a:latin typeface="Roboto"/>
                        </a:rPr>
                        <a:t>liệu</a:t>
                      </a:r>
                      <a:r>
                        <a:rPr lang="en-US" sz="2600" baseline="0" dirty="0">
                          <a:latin typeface="Roboto"/>
                        </a:rPr>
                        <a:t> … )</a:t>
                      </a:r>
                      <a:endParaRPr lang="en-US" sz="26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1" dirty="0">
                          <a:solidFill>
                            <a:schemeClr val="tx1"/>
                          </a:solidFill>
                          <a:latin typeface="Roboto"/>
                        </a:rPr>
                        <a:t>166.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41424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07606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1387</TotalTime>
  <Words>1052</Words>
  <Application>Microsoft Office PowerPoint</Application>
  <PresentationFormat>Custom</PresentationFormat>
  <Paragraphs>18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Helvetica Neue</vt:lpstr>
      <vt:lpstr>Oswald</vt:lpstr>
      <vt:lpstr>PT Sans</vt:lpstr>
      <vt:lpstr>Quattrocento Sans</vt:lpstr>
      <vt:lpstr>Roboto</vt:lpstr>
      <vt:lpstr>Trebuchet MS</vt:lpstr>
      <vt:lpstr>Verdan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NGHT</dc:creator>
  <cp:lastModifiedBy>Nguyen Ngoc Tuan</cp:lastModifiedBy>
  <cp:revision>2419</cp:revision>
  <dcterms:created xsi:type="dcterms:W3CDTF">2018-07-16T16:53:28Z</dcterms:created>
  <dcterms:modified xsi:type="dcterms:W3CDTF">2023-12-03T15:37:58Z</dcterms:modified>
</cp:coreProperties>
</file>